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722" r:id="rId33"/>
  </p:sldMasterIdLst>
  <p:notesMasterIdLst>
    <p:notesMasterId r:id="rId41"/>
  </p:notesMasterIdLst>
  <p:handoutMasterIdLst>
    <p:handoutMasterId r:id="rId42"/>
  </p:handoutMasterIdLst>
  <p:sldIdLst>
    <p:sldId id="2147138983" r:id="rId34"/>
    <p:sldId id="2147138984" r:id="rId35"/>
    <p:sldId id="2147138985" r:id="rId36"/>
    <p:sldId id="2147138986" r:id="rId37"/>
    <p:sldId id="2147138980" r:id="rId38"/>
    <p:sldId id="4065" r:id="rId39"/>
    <p:sldId id="2147138981" r:id="rId40"/>
  </p:sldIdLst>
  <p:sldSz cx="12192000" cy="6858000"/>
  <p:notesSz cx="6797675" cy="9926638"/>
  <p:embeddedFontLst>
    <p:embeddedFont>
      <p:font typeface="bill corp mx bold" panose="020B0604020202020204" charset="-18"/>
      <p:regular r:id="rId43"/>
      <p:bold r:id="rId44"/>
      <p:italic r:id="rId45"/>
      <p:boldItalic r:id="rId46"/>
    </p:embeddedFont>
    <p:embeddedFont>
      <p:font typeface="bill corp mx book" panose="020B0604020202020204" charset="-18"/>
      <p:regular r:id="rId47"/>
      <p:bold r:id="rId48"/>
      <p:italic r:id="rId49"/>
      <p:boldItalic r:id="rId50"/>
    </p:embeddedFont>
    <p:embeddedFont>
      <p:font typeface="bill corp mx light" panose="020B0604020202020204" charset="-18"/>
      <p:regular r:id="rId51"/>
      <p:bold r:id="rId52"/>
      <p:italic r:id="rId53"/>
      <p:boldItalic r:id="rId54"/>
    </p:embeddedFont>
    <p:embeddedFont>
      <p:font typeface="bill corp mx super" panose="020B0604020202020204" charset="0"/>
      <p:regular r:id="rId55"/>
      <p:bold r:id="rId56"/>
      <p:italic r:id="rId57"/>
      <p:boldItalic r:id="rId58"/>
    </p:embeddedFont>
    <p:embeddedFont>
      <p:font typeface="Calibri" panose="020F0502020204030204" pitchFamily="34" charset="0"/>
      <p:regular r:id="rId59"/>
      <p:bold r:id="rId60"/>
      <p:italic r:id="rId61"/>
      <p:boldItalic r:id="rId62"/>
    </p:embeddedFont>
    <p:embeddedFont>
      <p:font typeface="Calibri Light" panose="020F0302020204030204" pitchFamily="34" charset="0"/>
      <p:regular r:id="rId63"/>
      <p:italic r:id="rId64"/>
    </p:embeddedFont>
  </p:embeddedFontLst>
  <p:custDataLst>
    <p:tags r:id="rId6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25" userDrawn="1">
          <p15:clr>
            <a:srgbClr val="A4A3A4"/>
          </p15:clr>
        </p15:guide>
        <p15:guide id="2" orient="horz" pos="754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pos="3296" userDrawn="1">
          <p15:clr>
            <a:srgbClr val="A4A3A4"/>
          </p15:clr>
        </p15:guide>
        <p15:guide id="6" orient="horz" pos="288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E41E0BE-38D2-A170-95E6-5C11CF7D7BCD}" name="Hrncirova, Lucie (Moneta)" initials="HL(" userId="S::212623847@moneta.cz::482b9c5f-724a-4050-9d97-e5be4d57cf33" providerId="AD"/>
  <p188:author id="{8293A7E2-DCFC-E8AE-D94C-1B9E717FB30B}" name="Jan Valder" initials="JV" userId="S::502635681@moneta.cz::f504861a-04ff-48d0-9039-b5acbd5e311f" providerId="AD"/>
  <p188:author id="{B4F3BDF3-9496-FEA2-B274-A9BB014F66CC}" name="Nyvltova, Daniela (Moneta)" initials="ND(" userId="S::212395317@moneta.cz::f533f75a-05e9-4c60-81dd-bac53ad06aa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Novak, Matej (MONETA)" initials="NM(" lastIdx="34" clrIdx="6">
    <p:extLst>
      <p:ext uri="{19B8F6BF-5375-455C-9EA6-DF929625EA0E}">
        <p15:presenceInfo xmlns:p15="http://schemas.microsoft.com/office/powerpoint/2012/main" userId="S::212624630@moneta.cz::4cfa3336-ea47-4f29-928c-620938ac5a75" providerId="AD"/>
      </p:ext>
    </p:extLst>
  </p:cmAuthor>
  <p:cmAuthor id="1" name="Drvotova, Manda (MONETA)" initials="DM(" lastIdx="14" clrIdx="0">
    <p:extLst>
      <p:ext uri="{19B8F6BF-5375-455C-9EA6-DF929625EA0E}">
        <p15:presenceInfo xmlns:p15="http://schemas.microsoft.com/office/powerpoint/2012/main" userId="S-1-5-21-1209315686-2039146281-2381553815-28962" providerId="AD"/>
      </p:ext>
    </p:extLst>
  </p:cmAuthor>
  <p:cmAuthor id="2" name="Howell, Erik Andrew (MONETA)" initials="H(" lastIdx="2" clrIdx="1">
    <p:extLst>
      <p:ext uri="{19B8F6BF-5375-455C-9EA6-DF929625EA0E}">
        <p15:presenceInfo xmlns:p15="http://schemas.microsoft.com/office/powerpoint/2012/main" userId="S::212623063@moneta.cz::8cfa745c-0c3b-4f15-ae83-5ff3ebdfa4b9" providerId="AD"/>
      </p:ext>
    </p:extLst>
  </p:cmAuthor>
  <p:cmAuthor id="3" name="Koren , Jan  (MONETA)" initials="K,J(" lastIdx="11" clrIdx="2">
    <p:extLst>
      <p:ext uri="{19B8F6BF-5375-455C-9EA6-DF929625EA0E}">
        <p15:presenceInfo xmlns:p15="http://schemas.microsoft.com/office/powerpoint/2012/main" userId="S::212622476@moneta.cz::199c8e3a-216d-4293-9e54-628f37531c28" providerId="AD"/>
      </p:ext>
    </p:extLst>
  </p:cmAuthor>
  <p:cmAuthor id="4" name="Jan Pochop" initials="JP" lastIdx="1" clrIdx="3">
    <p:extLst>
      <p:ext uri="{19B8F6BF-5375-455C-9EA6-DF929625EA0E}">
        <p15:presenceInfo xmlns:p15="http://schemas.microsoft.com/office/powerpoint/2012/main" userId="Jan Pochop" providerId="None"/>
      </p:ext>
    </p:extLst>
  </p:cmAuthor>
  <p:cmAuthor id="5" name="Gerber, Andrew (MONETA)" initials="GA(" lastIdx="7" clrIdx="4">
    <p:extLst>
      <p:ext uri="{19B8F6BF-5375-455C-9EA6-DF929625EA0E}">
        <p15:presenceInfo xmlns:p15="http://schemas.microsoft.com/office/powerpoint/2012/main" userId="S::212574298@moneta.cz::967f09ae-118a-4901-83c4-b0780cc31615" providerId="AD"/>
      </p:ext>
    </p:extLst>
  </p:cmAuthor>
  <p:cmAuthor id="6" name="Jan Pochop" initials="JP [2]" lastIdx="2" clrIdx="5">
    <p:extLst>
      <p:ext uri="{19B8F6BF-5375-455C-9EA6-DF929625EA0E}">
        <p15:presenceInfo xmlns:p15="http://schemas.microsoft.com/office/powerpoint/2012/main" userId="S::jan@pochop.net::f60d00b2-f9e0-40b4-bf0a-4aa1d4ea845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D3ED"/>
    <a:srgbClr val="BF9731"/>
    <a:srgbClr val="FFFFFF"/>
    <a:srgbClr val="000000"/>
    <a:srgbClr val="F8F200"/>
    <a:srgbClr val="140757"/>
    <a:srgbClr val="8E40D7"/>
    <a:srgbClr val="B3B5BA"/>
    <a:srgbClr val="BED700"/>
    <a:srgbClr val="9F7D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E4D6A4-B67C-4D7B-B4DB-C53613D8FE75}" v="165" dt="2023-09-08T09:02:00.296"/>
    <p1510:client id="{44F7296D-4FD6-4CC2-9A20-BE191184EB22}" v="12" dt="2023-09-08T10:01:33.141"/>
    <p1510:client id="{5014EAEC-65E0-408F-9164-F5F4521C1591}" vWet="2" dt="2023-09-08T08:58:08.7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686" autoAdjust="0"/>
  </p:normalViewPr>
  <p:slideViewPr>
    <p:cSldViewPr snapToGrid="0">
      <p:cViewPr varScale="1">
        <p:scale>
          <a:sx n="125" d="100"/>
          <a:sy n="125" d="100"/>
        </p:scale>
        <p:origin x="126" y="366"/>
      </p:cViewPr>
      <p:guideLst>
        <p:guide pos="325"/>
        <p:guide orient="horz" pos="754"/>
        <p:guide orient="horz" pos="3974"/>
        <p:guide pos="3296"/>
        <p:guide orient="horz" pos="288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handoutMaster" Target="handoutMasters/handoutMaster1.xml"/><Relationship Id="rId47" Type="http://schemas.openxmlformats.org/officeDocument/2006/relationships/font" Target="fonts/font5.fntdata"/><Relationship Id="rId63" Type="http://schemas.openxmlformats.org/officeDocument/2006/relationships/font" Target="fonts/font21.fntdata"/><Relationship Id="rId68" Type="http://schemas.openxmlformats.org/officeDocument/2006/relationships/viewProps" Target="viewProps.xml"/><Relationship Id="rId7" Type="http://schemas.openxmlformats.org/officeDocument/2006/relationships/customXml" Target="../customXml/item7.xml"/><Relationship Id="rId71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slide" Target="slides/slide4.xml"/><Relationship Id="rId40" Type="http://schemas.openxmlformats.org/officeDocument/2006/relationships/slide" Target="slides/slide7.xml"/><Relationship Id="rId45" Type="http://schemas.openxmlformats.org/officeDocument/2006/relationships/font" Target="fonts/font3.fntdata"/><Relationship Id="rId53" Type="http://schemas.openxmlformats.org/officeDocument/2006/relationships/font" Target="fonts/font11.fntdata"/><Relationship Id="rId58" Type="http://schemas.openxmlformats.org/officeDocument/2006/relationships/font" Target="fonts/font16.fntdata"/><Relationship Id="rId66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61" Type="http://schemas.openxmlformats.org/officeDocument/2006/relationships/font" Target="fonts/font19.fntdata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slide" Target="slides/slide2.xml"/><Relationship Id="rId43" Type="http://schemas.openxmlformats.org/officeDocument/2006/relationships/font" Target="fonts/font1.fntdata"/><Relationship Id="rId48" Type="http://schemas.openxmlformats.org/officeDocument/2006/relationships/font" Target="fonts/font6.fntdata"/><Relationship Id="rId56" Type="http://schemas.openxmlformats.org/officeDocument/2006/relationships/font" Target="fonts/font14.fntdata"/><Relationship Id="rId64" Type="http://schemas.openxmlformats.org/officeDocument/2006/relationships/font" Target="fonts/font22.fntdata"/><Relationship Id="rId69" Type="http://schemas.openxmlformats.org/officeDocument/2006/relationships/theme" Target="theme/theme1.xml"/><Relationship Id="rId8" Type="http://schemas.openxmlformats.org/officeDocument/2006/relationships/customXml" Target="../customXml/item8.xml"/><Relationship Id="rId51" Type="http://schemas.openxmlformats.org/officeDocument/2006/relationships/font" Target="fonts/font9.fntdata"/><Relationship Id="rId72" Type="http://schemas.microsoft.com/office/2018/10/relationships/authors" Target="author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slideMaster" Target="slideMasters/slideMaster1.xml"/><Relationship Id="rId38" Type="http://schemas.openxmlformats.org/officeDocument/2006/relationships/slide" Target="slides/slide5.xml"/><Relationship Id="rId46" Type="http://schemas.openxmlformats.org/officeDocument/2006/relationships/font" Target="fonts/font4.fntdata"/><Relationship Id="rId59" Type="http://schemas.openxmlformats.org/officeDocument/2006/relationships/font" Target="fonts/font17.fntdata"/><Relationship Id="rId67" Type="http://schemas.openxmlformats.org/officeDocument/2006/relationships/presProps" Target="presProps.xml"/><Relationship Id="rId20" Type="http://schemas.openxmlformats.org/officeDocument/2006/relationships/customXml" Target="../customXml/item20.xml"/><Relationship Id="rId41" Type="http://schemas.openxmlformats.org/officeDocument/2006/relationships/notesMaster" Target="notesMasters/notesMaster1.xml"/><Relationship Id="rId54" Type="http://schemas.openxmlformats.org/officeDocument/2006/relationships/font" Target="fonts/font12.fntdata"/><Relationship Id="rId62" Type="http://schemas.openxmlformats.org/officeDocument/2006/relationships/font" Target="fonts/font20.fntdata"/><Relationship Id="rId7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slide" Target="slides/slide3.xml"/><Relationship Id="rId49" Type="http://schemas.openxmlformats.org/officeDocument/2006/relationships/font" Target="fonts/font7.fntdata"/><Relationship Id="rId57" Type="http://schemas.openxmlformats.org/officeDocument/2006/relationships/font" Target="fonts/font15.fntdata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font" Target="fonts/font2.fntdata"/><Relationship Id="rId52" Type="http://schemas.openxmlformats.org/officeDocument/2006/relationships/font" Target="fonts/font10.fntdata"/><Relationship Id="rId60" Type="http://schemas.openxmlformats.org/officeDocument/2006/relationships/font" Target="fonts/font18.fntdata"/><Relationship Id="rId65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slide" Target="slides/slide6.xml"/><Relationship Id="rId34" Type="http://schemas.openxmlformats.org/officeDocument/2006/relationships/slide" Target="slides/slide1.xml"/><Relationship Id="rId50" Type="http://schemas.openxmlformats.org/officeDocument/2006/relationships/font" Target="fonts/font8.fntdata"/><Relationship Id="rId55" Type="http://schemas.openxmlformats.org/officeDocument/2006/relationships/font" Target="fonts/font13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monetacz-my.sharepoint.com/personal/212625643_moneta_cz/Documents/Copy%20of%20Uplatn&#283;n&#237;%20slevy%20na%20SP%20za%20organizaci_02-07_2023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monetacz-my.sharepoint.com/personal/212625643_moneta_cz/Documents/Copy%20of%20Uplatn&#283;n&#237;%20slevy%20na%20SP%20za%20organizaci_02-07_2023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2500" noProof="0" dirty="0">
                <a:solidFill>
                  <a:schemeClr val="bg1"/>
                </a:solidFill>
              </a:rPr>
              <a:t>Graf 1: Skupiny zaměstnanců, za které si MONETA uplatňuje slevy na</a:t>
            </a:r>
            <a:r>
              <a:rPr lang="cs-CZ" sz="2500" baseline="0" noProof="0" dirty="0">
                <a:solidFill>
                  <a:schemeClr val="bg1"/>
                </a:solidFill>
              </a:rPr>
              <a:t> </a:t>
            </a:r>
            <a:r>
              <a:rPr lang="cs-CZ" sz="2500" noProof="0" dirty="0">
                <a:solidFill>
                  <a:schemeClr val="bg1"/>
                </a:solidFill>
              </a:rPr>
              <a:t>sociálním pojištění</a:t>
            </a:r>
          </a:p>
        </c:rich>
      </c:tx>
      <c:layout>
        <c:manualLayout>
          <c:xMode val="edge"/>
          <c:yMode val="edge"/>
          <c:x val="4.0794914274593898E-2"/>
          <c:y val="2.2587378919643889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I$191</c:f>
              <c:strCache>
                <c:ptCount val="1"/>
                <c:pt idx="0">
                  <c:v>% slev podle důvodu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5CAD-4553-9A39-7C776589AFD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5CAD-4553-9A39-7C776589AFD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5CAD-4553-9A39-7C776589AFD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5CAD-4553-9A39-7C776589AFD9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5CAD-4553-9A39-7C776589AFD9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A64D2193-B306-440C-AA91-A59869F61E0E}" type="PERCENTAGE">
                      <a:rPr lang="en-US" sz="2000"/>
                      <a:pPr/>
                      <a:t>[PROCENTO]</a:t>
                    </a:fld>
                    <a:endParaRPr lang="cs-CZ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CAD-4553-9A39-7C776589AFD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01DF0DF-B595-4E8B-AB01-4AC6EC937EA0}" type="PERCENTAGE">
                      <a:rPr lang="en-US" sz="2000"/>
                      <a:pPr/>
                      <a:t>[PROCENTO]</a:t>
                    </a:fld>
                    <a:endParaRPr lang="cs-CZ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CAD-4553-9A39-7C776589AFD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773CF3C-B004-4CE8-A45A-CC20585D2F18}" type="PERCENTAGE">
                      <a:rPr lang="en-US" sz="2000"/>
                      <a:pPr/>
                      <a:t>[PROCENTO]</a:t>
                    </a:fld>
                    <a:endParaRPr lang="cs-CZ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CAD-4553-9A39-7C776589AFD9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AEBDD3E-DBE5-4EC5-8269-456E0EA21E2D}" type="PERCENTAGE">
                      <a:rPr lang="en-US" sz="2000"/>
                      <a:pPr/>
                      <a:t>[PROCENTO]</a:t>
                    </a:fld>
                    <a:endParaRPr lang="cs-CZ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CAD-4553-9A39-7C776589AFD9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A2811D97-9246-4A90-8B3E-503C7A8DDE27}" type="PERCENTAGE">
                      <a:rPr lang="en-US" sz="2000"/>
                      <a:pPr/>
                      <a:t>[PROCENTO]</a:t>
                    </a:fld>
                    <a:endParaRPr lang="cs-CZ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5CAD-4553-9A39-7C776589AFD9}"/>
                </c:ext>
              </c:extLst>
            </c:dLbl>
            <c:spPr>
              <a:no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J$189:$N$189</c:f>
              <c:strCache>
                <c:ptCount val="5"/>
                <c:pt idx="0">
                  <c:v>A - je starší 55 let</c:v>
                </c:pt>
                <c:pt idx="1">
                  <c:v>B - pečuje o dítě mladší 10 let</c:v>
                </c:pt>
                <c:pt idx="2">
                  <c:v>D - připravuje se na budoucí povolání studiem</c:v>
                </c:pt>
                <c:pt idx="3">
                  <c:v>F - je osobou se zdravotním postižením</c:v>
                </c:pt>
                <c:pt idx="4">
                  <c:v>G - je mladší 21 let</c:v>
                </c:pt>
              </c:strCache>
            </c:strRef>
          </c:cat>
          <c:val>
            <c:numRef>
              <c:f>Sheet1!$J$191:$N$191</c:f>
              <c:numCache>
                <c:formatCode>0.0%</c:formatCode>
                <c:ptCount val="5"/>
                <c:pt idx="0">
                  <c:v>3.3519553072625698E-2</c:v>
                </c:pt>
                <c:pt idx="1">
                  <c:v>0.68156424581005581</c:v>
                </c:pt>
                <c:pt idx="2">
                  <c:v>0.10614525139664804</c:v>
                </c:pt>
                <c:pt idx="3">
                  <c:v>3.3519553072625698E-2</c:v>
                </c:pt>
                <c:pt idx="4">
                  <c:v>0.145251396648044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CAD-4553-9A39-7C776589AFD9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130"/>
      </c:pieChart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5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5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5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5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</c:legendEntry>
      <c:legendEntry>
        <c:idx val="4"/>
        <c:txPr>
          <a:bodyPr rot="0" spcFirstLastPara="1" vertOverflow="ellipsis" vert="horz" wrap="square" anchor="ctr" anchorCtr="1"/>
          <a:lstStyle/>
          <a:p>
            <a:pPr>
              <a:defRPr sz="15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</c:legendEntry>
      <c:layout>
        <c:manualLayout>
          <c:xMode val="edge"/>
          <c:yMode val="edge"/>
          <c:x val="0.5920729542548302"/>
          <c:y val="0.33584889150214786"/>
          <c:w val="0.3981224822461138"/>
          <c:h val="0.462471247778388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k-SK" sz="2500" dirty="0">
                <a:solidFill>
                  <a:schemeClr val="bg1"/>
                </a:solidFill>
              </a:rPr>
              <a:t>Graf 2: Počet </a:t>
            </a:r>
            <a:r>
              <a:rPr lang="sk-SK" sz="2500" dirty="0" err="1">
                <a:solidFill>
                  <a:schemeClr val="bg1"/>
                </a:solidFill>
              </a:rPr>
              <a:t>zaměstnanců</a:t>
            </a:r>
            <a:r>
              <a:rPr lang="sk-SK" sz="2500" dirty="0">
                <a:solidFill>
                  <a:schemeClr val="bg1"/>
                </a:solidFill>
              </a:rPr>
              <a:t> </a:t>
            </a:r>
            <a:r>
              <a:rPr lang="sk-SK" sz="2500" dirty="0" err="1">
                <a:solidFill>
                  <a:schemeClr val="bg1"/>
                </a:solidFill>
              </a:rPr>
              <a:t>se</a:t>
            </a:r>
            <a:r>
              <a:rPr lang="sk-SK" sz="2500" dirty="0">
                <a:solidFill>
                  <a:schemeClr val="bg1"/>
                </a:solidFill>
              </a:rPr>
              <a:t> </a:t>
            </a:r>
            <a:r>
              <a:rPr lang="sk-SK" sz="2500" dirty="0" err="1">
                <a:solidFill>
                  <a:schemeClr val="bg1"/>
                </a:solidFill>
              </a:rPr>
              <a:t>slevou</a:t>
            </a:r>
            <a:r>
              <a:rPr lang="sk-SK" sz="2500" dirty="0">
                <a:solidFill>
                  <a:schemeClr val="bg1"/>
                </a:solidFill>
              </a:rPr>
              <a:t> na</a:t>
            </a:r>
            <a:r>
              <a:rPr lang="sk-SK" sz="2500" baseline="0" dirty="0">
                <a:solidFill>
                  <a:schemeClr val="bg1"/>
                </a:solidFill>
              </a:rPr>
              <a:t> </a:t>
            </a:r>
            <a:r>
              <a:rPr lang="sk-SK" sz="2500" baseline="0" dirty="0" err="1">
                <a:solidFill>
                  <a:schemeClr val="bg1"/>
                </a:solidFill>
              </a:rPr>
              <a:t>sociálním</a:t>
            </a:r>
            <a:r>
              <a:rPr lang="sk-SK" sz="2500" baseline="0" dirty="0">
                <a:solidFill>
                  <a:schemeClr val="bg1"/>
                </a:solidFill>
              </a:rPr>
              <a:t> </a:t>
            </a:r>
            <a:r>
              <a:rPr lang="sk-SK" sz="2500" baseline="0" dirty="0" err="1">
                <a:solidFill>
                  <a:schemeClr val="bg1"/>
                </a:solidFill>
              </a:rPr>
              <a:t>pojištění</a:t>
            </a:r>
            <a:endParaRPr lang="sk-SK" sz="2500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4.1533818995301168E-2"/>
          <c:y val="1.43712737474925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raf!$O$5</c:f>
              <c:strCache>
                <c:ptCount val="1"/>
                <c:pt idx="0">
                  <c:v>Počet zaměstnanců se slevou</c:v>
                </c:pt>
              </c:strCache>
            </c:strRef>
          </c:tx>
          <c:spPr>
            <a:solidFill>
              <a:srgbClr val="DED3ED"/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A486EF82-2158-4408-82FF-0875682BE410}" type="VALUE">
                      <a:rPr lang="en-US" sz="1800"/>
                      <a:pPr/>
                      <a:t>[HODNOTA]</a:t>
                    </a:fld>
                    <a:endParaRPr lang="cs-CZ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86F4-414C-A92C-99A02DF07A8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954C0BD-9127-45CE-8996-2BFA884B7497}" type="VALUE">
                      <a:rPr lang="en-US" sz="1800"/>
                      <a:pPr/>
                      <a:t>[HODNOTA]</a:t>
                    </a:fld>
                    <a:endParaRPr lang="cs-CZ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86F4-414C-A92C-99A02DF07A8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8BBBFB2-CC7D-463B-890E-015E81D39E51}" type="VALUE">
                      <a:rPr lang="en-US" sz="1800"/>
                      <a:pPr/>
                      <a:t>[HODNOTA]</a:t>
                    </a:fld>
                    <a:endParaRPr lang="cs-CZ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86F4-414C-A92C-99A02DF07A8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502B8A7C-457D-4983-9406-93E13E3C3653}" type="VALUE">
                      <a:rPr lang="en-US" sz="1800"/>
                      <a:pPr/>
                      <a:t>[HODNOTA]</a:t>
                    </a:fld>
                    <a:endParaRPr lang="cs-CZ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86F4-414C-A92C-99A02DF07A8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0730DA2A-DC87-4C91-A624-EB57809957D0}" type="VALUE">
                      <a:rPr lang="en-US" sz="1800"/>
                      <a:pPr/>
                      <a:t>[HODNOTA]</a:t>
                    </a:fld>
                    <a:endParaRPr lang="cs-CZ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86F4-414C-A92C-99A02DF07A8D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467B44AE-78B6-4F81-953D-F6E55F62B212}" type="VALUE">
                      <a:rPr lang="en-US" sz="1800"/>
                      <a:pPr/>
                      <a:t>[HODNOTA]</a:t>
                    </a:fld>
                    <a:endParaRPr lang="cs-CZ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86F4-414C-A92C-99A02DF07A8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Graf!$N$6:$N$11</c:f>
              <c:numCache>
                <c:formatCode>mm\/\y\y\y\y</c:formatCode>
                <c:ptCount val="6"/>
                <c:pt idx="0">
                  <c:v>44958</c:v>
                </c:pt>
                <c:pt idx="1">
                  <c:v>44986</c:v>
                </c:pt>
                <c:pt idx="2">
                  <c:v>45017</c:v>
                </c:pt>
                <c:pt idx="3">
                  <c:v>45047</c:v>
                </c:pt>
                <c:pt idx="4">
                  <c:v>45078</c:v>
                </c:pt>
                <c:pt idx="5">
                  <c:v>45108</c:v>
                </c:pt>
              </c:numCache>
            </c:numRef>
          </c:cat>
          <c:val>
            <c:numRef>
              <c:f>Graf!$O$6:$O$11</c:f>
              <c:numCache>
                <c:formatCode>#,##0</c:formatCode>
                <c:ptCount val="6"/>
                <c:pt idx="0">
                  <c:v>128</c:v>
                </c:pt>
                <c:pt idx="1">
                  <c:v>100</c:v>
                </c:pt>
                <c:pt idx="2">
                  <c:v>111</c:v>
                </c:pt>
                <c:pt idx="3">
                  <c:v>109</c:v>
                </c:pt>
                <c:pt idx="4">
                  <c:v>123</c:v>
                </c:pt>
                <c:pt idx="5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4F-41E1-BD27-BA843769AB31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403502336"/>
        <c:axId val="659576272"/>
      </c:barChart>
      <c:dateAx>
        <c:axId val="40350233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sk-SK" sz="1300" dirty="0" err="1">
                    <a:solidFill>
                      <a:schemeClr val="bg1"/>
                    </a:solidFill>
                  </a:rPr>
                  <a:t>Měsíc</a:t>
                </a:r>
                <a:endParaRPr lang="sk-SK" sz="1300" dirty="0">
                  <a:solidFill>
                    <a:schemeClr val="bg1"/>
                  </a:solidFill>
                </a:endParaRPr>
              </a:p>
            </c:rich>
          </c:tx>
          <c:layout>
            <c:manualLayout>
              <c:xMode val="edge"/>
              <c:yMode val="edge"/>
              <c:x val="0.47885299430660311"/>
              <c:y val="0.9525531284612005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mm\/yyyy" sourceLinked="0"/>
        <c:majorTickMark val="out"/>
        <c:minorTickMark val="none"/>
        <c:tickLblPos val="nextTo"/>
        <c:spPr>
          <a:noFill/>
          <a:ln w="19050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59576272"/>
        <c:crosses val="autoZero"/>
        <c:auto val="1"/>
        <c:lblOffset val="100"/>
        <c:baseTimeUnit val="months"/>
      </c:dateAx>
      <c:valAx>
        <c:axId val="659576272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sk-SK" sz="1300" dirty="0">
                    <a:solidFill>
                      <a:schemeClr val="bg1"/>
                    </a:solidFill>
                  </a:rPr>
                  <a:t>Počet </a:t>
                </a:r>
                <a:r>
                  <a:rPr lang="sk-SK" sz="1300" dirty="0" err="1">
                    <a:solidFill>
                      <a:schemeClr val="bg1"/>
                    </a:solidFill>
                  </a:rPr>
                  <a:t>zaměstnanců</a:t>
                </a:r>
                <a:endParaRPr lang="sk-SK" sz="1300" dirty="0">
                  <a:solidFill>
                    <a:schemeClr val="bg1"/>
                  </a:solidFill>
                </a:endParaRPr>
              </a:p>
            </c:rich>
          </c:tx>
          <c:layout>
            <c:manualLayout>
              <c:xMode val="edge"/>
              <c:yMode val="edge"/>
              <c:x val="9.0067177687683016E-3"/>
              <c:y val="0.3346701886974646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3502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651BC4-67D0-4456-A60B-7408728BE25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8243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DC215B-7D8C-4F87-B5F4-D944BDF6508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563043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6B00073-BB83-4802-971C-5449B08B5E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8243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79A99C-9685-4D81-B8F1-D826FF1FA8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48092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2" pos="214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asifikace: {klasifikace}, Přístup: {přístup}, Distribuce: {distribuce}, Značka a doba zachování: {značka}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285C40-4F20-44C5-B5CE-CB4C764EA8C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85516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asifikace: {klasifikace}, Přístup: {přístup}, Distribuce: {distribuce}, Značka a doba zachování: {značka}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285C40-4F20-44C5-B5CE-CB4C764EA8C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54576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customXml" Target="../../customXml/item27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customXml" Target="../../customXml/item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customXml" Target="../../customXml/item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customXml" Target="../../customXml/item2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customXml" Target="../../customXml/item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B7AA4DD-C81E-4EB5-82B9-7718047366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810871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B7AA4DD-C81E-4EB5-82B9-7718047366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9">
            <a:extLst>
              <a:ext uri="{FF2B5EF4-FFF2-40B4-BE49-F238E27FC236}">
                <a16:creationId xmlns:a16="http://schemas.microsoft.com/office/drawing/2014/main" id="{877397E7-4085-4EFD-824A-6DB0FF92EC6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8E6DF931-D9BF-4350-8281-2DC73A7CA4E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57811" y="1700213"/>
            <a:ext cx="6421377" cy="1107996"/>
          </a:xfrm>
        </p:spPr>
        <p:txBody>
          <a:bodyPr vert="horz" wrap="square" bIns="0" anchor="t" anchorCtr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7200">
                <a:solidFill>
                  <a:schemeClr val="bg1"/>
                </a:solidFill>
                <a:latin typeface="bill corp mx super" panose="020B0604020202020204" charset="-18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BCE5012B-5F4C-4BD0-8910-6F2FCE4F598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57811" y="4068723"/>
            <a:ext cx="6421377" cy="430887"/>
          </a:xfrm>
        </p:spPr>
        <p:txBody>
          <a:bodyPr wrap="square" tIns="0" anchor="t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bill corp mx light" panose="020B0604020202020204" charset="-1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Date</a:t>
            </a:r>
          </a:p>
        </p:txBody>
      </p:sp>
      <p:grpSp>
        <p:nvGrpSpPr>
          <p:cNvPr id="12" name="Skupina 13">
            <a:extLst>
              <a:ext uri="{FF2B5EF4-FFF2-40B4-BE49-F238E27FC236}">
                <a16:creationId xmlns:a16="http://schemas.microsoft.com/office/drawing/2014/main" id="{1ED0B52E-B656-484D-A65C-AE66AEDDC66E}"/>
              </a:ext>
            </a:extLst>
          </p:cNvPr>
          <p:cNvGrpSpPr/>
          <p:nvPr userDrawn="1"/>
        </p:nvGrpSpPr>
        <p:grpSpPr>
          <a:xfrm>
            <a:off x="7763221" y="5822124"/>
            <a:ext cx="3502319" cy="523114"/>
            <a:chOff x="329806" y="6109537"/>
            <a:chExt cx="3441015" cy="514350"/>
          </a:xfrm>
        </p:grpSpPr>
        <p:sp>
          <p:nvSpPr>
            <p:cNvPr id="13" name="Freeform 21">
              <a:extLst>
                <a:ext uri="{FF2B5EF4-FFF2-40B4-BE49-F238E27FC236}">
                  <a16:creationId xmlns:a16="http://schemas.microsoft.com/office/drawing/2014/main" id="{5055F4C0-F5BC-49B8-B70C-AE03E662A0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0104" y="6220448"/>
              <a:ext cx="127548" cy="123389"/>
            </a:xfrm>
            <a:custGeom>
              <a:avLst/>
              <a:gdLst>
                <a:gd name="T0" fmla="*/ 92 w 92"/>
                <a:gd name="T1" fmla="*/ 0 h 89"/>
                <a:gd name="T2" fmla="*/ 92 w 92"/>
                <a:gd name="T3" fmla="*/ 85 h 89"/>
                <a:gd name="T4" fmla="*/ 78 w 92"/>
                <a:gd name="T5" fmla="*/ 85 h 89"/>
                <a:gd name="T6" fmla="*/ 78 w 92"/>
                <a:gd name="T7" fmla="*/ 41 h 89"/>
                <a:gd name="T8" fmla="*/ 46 w 92"/>
                <a:gd name="T9" fmla="*/ 89 h 89"/>
                <a:gd name="T10" fmla="*/ 13 w 92"/>
                <a:gd name="T11" fmla="*/ 41 h 89"/>
                <a:gd name="T12" fmla="*/ 13 w 92"/>
                <a:gd name="T13" fmla="*/ 85 h 89"/>
                <a:gd name="T14" fmla="*/ 0 w 92"/>
                <a:gd name="T15" fmla="*/ 85 h 89"/>
                <a:gd name="T16" fmla="*/ 0 w 92"/>
                <a:gd name="T17" fmla="*/ 0 h 89"/>
                <a:gd name="T18" fmla="*/ 46 w 92"/>
                <a:gd name="T19" fmla="*/ 66 h 89"/>
                <a:gd name="T20" fmla="*/ 92 w 92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89">
                  <a:moveTo>
                    <a:pt x="92" y="0"/>
                  </a:moveTo>
                  <a:lnTo>
                    <a:pt x="92" y="85"/>
                  </a:lnTo>
                  <a:lnTo>
                    <a:pt x="78" y="85"/>
                  </a:lnTo>
                  <a:lnTo>
                    <a:pt x="78" y="41"/>
                  </a:lnTo>
                  <a:lnTo>
                    <a:pt x="46" y="89"/>
                  </a:lnTo>
                  <a:lnTo>
                    <a:pt x="13" y="41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46" y="66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14" name="Freeform 22">
              <a:extLst>
                <a:ext uri="{FF2B5EF4-FFF2-40B4-BE49-F238E27FC236}">
                  <a16:creationId xmlns:a16="http://schemas.microsoft.com/office/drawing/2014/main" id="{C3F91A2C-9CEC-4D85-AAB4-BC10D981F1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50925" y="6223221"/>
              <a:ext cx="119229" cy="117843"/>
            </a:xfrm>
            <a:custGeom>
              <a:avLst/>
              <a:gdLst>
                <a:gd name="T0" fmla="*/ 162 w 162"/>
                <a:gd name="T1" fmla="*/ 80 h 161"/>
                <a:gd name="T2" fmla="*/ 81 w 162"/>
                <a:gd name="T3" fmla="*/ 161 h 161"/>
                <a:gd name="T4" fmla="*/ 0 w 162"/>
                <a:gd name="T5" fmla="*/ 80 h 161"/>
                <a:gd name="T6" fmla="*/ 81 w 162"/>
                <a:gd name="T7" fmla="*/ 0 h 161"/>
                <a:gd name="T8" fmla="*/ 162 w 162"/>
                <a:gd name="T9" fmla="*/ 80 h 161"/>
                <a:gd name="T10" fmla="*/ 136 w 162"/>
                <a:gd name="T11" fmla="*/ 80 h 161"/>
                <a:gd name="T12" fmla="*/ 81 w 162"/>
                <a:gd name="T13" fmla="*/ 24 h 161"/>
                <a:gd name="T14" fmla="*/ 26 w 162"/>
                <a:gd name="T15" fmla="*/ 80 h 161"/>
                <a:gd name="T16" fmla="*/ 81 w 162"/>
                <a:gd name="T17" fmla="*/ 136 h 161"/>
                <a:gd name="T18" fmla="*/ 136 w 162"/>
                <a:gd name="T19" fmla="*/ 8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1">
                  <a:moveTo>
                    <a:pt x="162" y="80"/>
                  </a:moveTo>
                  <a:cubicBezTo>
                    <a:pt x="162" y="125"/>
                    <a:pt x="126" y="161"/>
                    <a:pt x="81" y="161"/>
                  </a:cubicBezTo>
                  <a:cubicBezTo>
                    <a:pt x="36" y="161"/>
                    <a:pt x="0" y="125"/>
                    <a:pt x="0" y="80"/>
                  </a:cubicBezTo>
                  <a:cubicBezTo>
                    <a:pt x="0" y="36"/>
                    <a:pt x="36" y="0"/>
                    <a:pt x="81" y="0"/>
                  </a:cubicBezTo>
                  <a:cubicBezTo>
                    <a:pt x="126" y="0"/>
                    <a:pt x="162" y="36"/>
                    <a:pt x="162" y="80"/>
                  </a:cubicBezTo>
                  <a:moveTo>
                    <a:pt x="136" y="80"/>
                  </a:moveTo>
                  <a:cubicBezTo>
                    <a:pt x="136" y="49"/>
                    <a:pt x="111" y="24"/>
                    <a:pt x="81" y="24"/>
                  </a:cubicBezTo>
                  <a:cubicBezTo>
                    <a:pt x="51" y="24"/>
                    <a:pt x="26" y="49"/>
                    <a:pt x="26" y="80"/>
                  </a:cubicBezTo>
                  <a:cubicBezTo>
                    <a:pt x="26" y="111"/>
                    <a:pt x="51" y="136"/>
                    <a:pt x="81" y="136"/>
                  </a:cubicBezTo>
                  <a:cubicBezTo>
                    <a:pt x="111" y="136"/>
                    <a:pt x="136" y="111"/>
                    <a:pt x="136" y="8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15" name="Freeform 23">
              <a:extLst>
                <a:ext uri="{FF2B5EF4-FFF2-40B4-BE49-F238E27FC236}">
                  <a16:creationId xmlns:a16="http://schemas.microsoft.com/office/drawing/2014/main" id="{00AAC307-5F7C-453E-AE5C-44B078EB17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4814" y="6220448"/>
              <a:ext cx="109525" cy="123389"/>
            </a:xfrm>
            <a:custGeom>
              <a:avLst/>
              <a:gdLst>
                <a:gd name="T0" fmla="*/ 66 w 79"/>
                <a:gd name="T1" fmla="*/ 60 h 89"/>
                <a:gd name="T2" fmla="*/ 66 w 79"/>
                <a:gd name="T3" fmla="*/ 4 h 89"/>
                <a:gd name="T4" fmla="*/ 79 w 79"/>
                <a:gd name="T5" fmla="*/ 4 h 89"/>
                <a:gd name="T6" fmla="*/ 79 w 79"/>
                <a:gd name="T7" fmla="*/ 89 h 89"/>
                <a:gd name="T8" fmla="*/ 13 w 79"/>
                <a:gd name="T9" fmla="*/ 29 h 89"/>
                <a:gd name="T10" fmla="*/ 13 w 79"/>
                <a:gd name="T11" fmla="*/ 85 h 89"/>
                <a:gd name="T12" fmla="*/ 0 w 79"/>
                <a:gd name="T13" fmla="*/ 85 h 89"/>
                <a:gd name="T14" fmla="*/ 0 w 79"/>
                <a:gd name="T15" fmla="*/ 0 h 89"/>
                <a:gd name="T16" fmla="*/ 66 w 79"/>
                <a:gd name="T17" fmla="*/ 6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89">
                  <a:moveTo>
                    <a:pt x="66" y="60"/>
                  </a:moveTo>
                  <a:lnTo>
                    <a:pt x="66" y="4"/>
                  </a:lnTo>
                  <a:lnTo>
                    <a:pt x="79" y="4"/>
                  </a:lnTo>
                  <a:lnTo>
                    <a:pt x="79" y="89"/>
                  </a:lnTo>
                  <a:lnTo>
                    <a:pt x="13" y="29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66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16" name="Freeform 24">
              <a:extLst>
                <a:ext uri="{FF2B5EF4-FFF2-40B4-BE49-F238E27FC236}">
                  <a16:creationId xmlns:a16="http://schemas.microsoft.com/office/drawing/2014/main" id="{E2BFE871-1854-4BB6-A697-D8CCFA667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4544" y="6225994"/>
              <a:ext cx="83183" cy="112298"/>
            </a:xfrm>
            <a:custGeom>
              <a:avLst/>
              <a:gdLst>
                <a:gd name="T0" fmla="*/ 58 w 60"/>
                <a:gd name="T1" fmla="*/ 34 h 81"/>
                <a:gd name="T2" fmla="*/ 58 w 60"/>
                <a:gd name="T3" fmla="*/ 46 h 81"/>
                <a:gd name="T4" fmla="*/ 13 w 60"/>
                <a:gd name="T5" fmla="*/ 46 h 81"/>
                <a:gd name="T6" fmla="*/ 13 w 60"/>
                <a:gd name="T7" fmla="*/ 69 h 81"/>
                <a:gd name="T8" fmla="*/ 60 w 60"/>
                <a:gd name="T9" fmla="*/ 69 h 81"/>
                <a:gd name="T10" fmla="*/ 60 w 60"/>
                <a:gd name="T11" fmla="*/ 81 h 81"/>
                <a:gd name="T12" fmla="*/ 0 w 60"/>
                <a:gd name="T13" fmla="*/ 81 h 81"/>
                <a:gd name="T14" fmla="*/ 0 w 60"/>
                <a:gd name="T15" fmla="*/ 0 h 81"/>
                <a:gd name="T16" fmla="*/ 60 w 60"/>
                <a:gd name="T17" fmla="*/ 0 h 81"/>
                <a:gd name="T18" fmla="*/ 60 w 60"/>
                <a:gd name="T19" fmla="*/ 12 h 81"/>
                <a:gd name="T20" fmla="*/ 13 w 60"/>
                <a:gd name="T21" fmla="*/ 12 h 81"/>
                <a:gd name="T22" fmla="*/ 13 w 60"/>
                <a:gd name="T23" fmla="*/ 34 h 81"/>
                <a:gd name="T24" fmla="*/ 58 w 60"/>
                <a:gd name="T25" fmla="*/ 3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81">
                  <a:moveTo>
                    <a:pt x="58" y="34"/>
                  </a:moveTo>
                  <a:lnTo>
                    <a:pt x="58" y="46"/>
                  </a:lnTo>
                  <a:lnTo>
                    <a:pt x="13" y="46"/>
                  </a:lnTo>
                  <a:lnTo>
                    <a:pt x="13" y="69"/>
                  </a:lnTo>
                  <a:lnTo>
                    <a:pt x="60" y="69"/>
                  </a:lnTo>
                  <a:lnTo>
                    <a:pt x="60" y="81"/>
                  </a:lnTo>
                  <a:lnTo>
                    <a:pt x="0" y="81"/>
                  </a:lnTo>
                  <a:lnTo>
                    <a:pt x="0" y="0"/>
                  </a:lnTo>
                  <a:lnTo>
                    <a:pt x="60" y="0"/>
                  </a:lnTo>
                  <a:lnTo>
                    <a:pt x="60" y="12"/>
                  </a:lnTo>
                  <a:lnTo>
                    <a:pt x="13" y="12"/>
                  </a:lnTo>
                  <a:lnTo>
                    <a:pt x="13" y="34"/>
                  </a:lnTo>
                  <a:lnTo>
                    <a:pt x="5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17" name="Freeform 25">
              <a:extLst>
                <a:ext uri="{FF2B5EF4-FFF2-40B4-BE49-F238E27FC236}">
                  <a16:creationId xmlns:a16="http://schemas.microsoft.com/office/drawing/2014/main" id="{7583630D-3969-44F9-BABB-4331437A8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8523" y="6225994"/>
              <a:ext cx="112298" cy="112298"/>
            </a:xfrm>
            <a:custGeom>
              <a:avLst/>
              <a:gdLst>
                <a:gd name="T0" fmla="*/ 34 w 81"/>
                <a:gd name="T1" fmla="*/ 81 h 81"/>
                <a:gd name="T2" fmla="*/ 34 w 81"/>
                <a:gd name="T3" fmla="*/ 49 h 81"/>
                <a:gd name="T4" fmla="*/ 0 w 81"/>
                <a:gd name="T5" fmla="*/ 0 h 81"/>
                <a:gd name="T6" fmla="*/ 15 w 81"/>
                <a:gd name="T7" fmla="*/ 0 h 81"/>
                <a:gd name="T8" fmla="*/ 41 w 81"/>
                <a:gd name="T9" fmla="*/ 37 h 81"/>
                <a:gd name="T10" fmla="*/ 67 w 81"/>
                <a:gd name="T11" fmla="*/ 0 h 81"/>
                <a:gd name="T12" fmla="*/ 81 w 81"/>
                <a:gd name="T13" fmla="*/ 0 h 81"/>
                <a:gd name="T14" fmla="*/ 48 w 81"/>
                <a:gd name="T15" fmla="*/ 49 h 81"/>
                <a:gd name="T16" fmla="*/ 48 w 81"/>
                <a:gd name="T17" fmla="*/ 81 h 81"/>
                <a:gd name="T18" fmla="*/ 34 w 81"/>
                <a:gd name="T1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81">
                  <a:moveTo>
                    <a:pt x="34" y="81"/>
                  </a:moveTo>
                  <a:lnTo>
                    <a:pt x="34" y="49"/>
                  </a:lnTo>
                  <a:lnTo>
                    <a:pt x="0" y="0"/>
                  </a:lnTo>
                  <a:lnTo>
                    <a:pt x="15" y="0"/>
                  </a:lnTo>
                  <a:lnTo>
                    <a:pt x="41" y="37"/>
                  </a:lnTo>
                  <a:lnTo>
                    <a:pt x="67" y="0"/>
                  </a:lnTo>
                  <a:lnTo>
                    <a:pt x="81" y="0"/>
                  </a:lnTo>
                  <a:lnTo>
                    <a:pt x="48" y="49"/>
                  </a:lnTo>
                  <a:lnTo>
                    <a:pt x="48" y="81"/>
                  </a:lnTo>
                  <a:lnTo>
                    <a:pt x="34" y="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18" name="Freeform 26">
              <a:extLst>
                <a:ext uri="{FF2B5EF4-FFF2-40B4-BE49-F238E27FC236}">
                  <a16:creationId xmlns:a16="http://schemas.microsoft.com/office/drawing/2014/main" id="{612B7A70-9E65-4E32-899F-D0E3D669F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0104" y="6393747"/>
              <a:ext cx="97047" cy="113684"/>
            </a:xfrm>
            <a:custGeom>
              <a:avLst/>
              <a:gdLst>
                <a:gd name="T0" fmla="*/ 132 w 132"/>
                <a:gd name="T1" fmla="*/ 110 h 155"/>
                <a:gd name="T2" fmla="*/ 83 w 132"/>
                <a:gd name="T3" fmla="*/ 155 h 155"/>
                <a:gd name="T4" fmla="*/ 0 w 132"/>
                <a:gd name="T5" fmla="*/ 155 h 155"/>
                <a:gd name="T6" fmla="*/ 0 w 132"/>
                <a:gd name="T7" fmla="*/ 0 h 155"/>
                <a:gd name="T8" fmla="*/ 81 w 132"/>
                <a:gd name="T9" fmla="*/ 0 h 155"/>
                <a:gd name="T10" fmla="*/ 126 w 132"/>
                <a:gd name="T11" fmla="*/ 41 h 155"/>
                <a:gd name="T12" fmla="*/ 107 w 132"/>
                <a:gd name="T13" fmla="*/ 73 h 155"/>
                <a:gd name="T14" fmla="*/ 132 w 132"/>
                <a:gd name="T15" fmla="*/ 110 h 155"/>
                <a:gd name="T16" fmla="*/ 76 w 132"/>
                <a:gd name="T17" fmla="*/ 65 h 155"/>
                <a:gd name="T18" fmla="*/ 101 w 132"/>
                <a:gd name="T19" fmla="*/ 44 h 155"/>
                <a:gd name="T20" fmla="*/ 76 w 132"/>
                <a:gd name="T21" fmla="*/ 23 h 155"/>
                <a:gd name="T22" fmla="*/ 26 w 132"/>
                <a:gd name="T23" fmla="*/ 23 h 155"/>
                <a:gd name="T24" fmla="*/ 26 w 132"/>
                <a:gd name="T25" fmla="*/ 65 h 155"/>
                <a:gd name="T26" fmla="*/ 76 w 132"/>
                <a:gd name="T27" fmla="*/ 65 h 155"/>
                <a:gd name="T28" fmla="*/ 79 w 132"/>
                <a:gd name="T29" fmla="*/ 133 h 155"/>
                <a:gd name="T30" fmla="*/ 106 w 132"/>
                <a:gd name="T31" fmla="*/ 110 h 155"/>
                <a:gd name="T32" fmla="*/ 79 w 132"/>
                <a:gd name="T33" fmla="*/ 86 h 155"/>
                <a:gd name="T34" fmla="*/ 26 w 132"/>
                <a:gd name="T35" fmla="*/ 86 h 155"/>
                <a:gd name="T36" fmla="*/ 26 w 132"/>
                <a:gd name="T37" fmla="*/ 133 h 155"/>
                <a:gd name="T38" fmla="*/ 79 w 132"/>
                <a:gd name="T39" fmla="*/ 13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2" h="155">
                  <a:moveTo>
                    <a:pt x="132" y="110"/>
                  </a:moveTo>
                  <a:cubicBezTo>
                    <a:pt x="132" y="135"/>
                    <a:pt x="112" y="155"/>
                    <a:pt x="83" y="155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108" y="0"/>
                    <a:pt x="126" y="18"/>
                    <a:pt x="126" y="41"/>
                  </a:cubicBezTo>
                  <a:cubicBezTo>
                    <a:pt x="126" y="56"/>
                    <a:pt x="119" y="67"/>
                    <a:pt x="107" y="73"/>
                  </a:cubicBezTo>
                  <a:cubicBezTo>
                    <a:pt x="122" y="78"/>
                    <a:pt x="132" y="91"/>
                    <a:pt x="132" y="110"/>
                  </a:cubicBezTo>
                  <a:moveTo>
                    <a:pt x="76" y="65"/>
                  </a:moveTo>
                  <a:cubicBezTo>
                    <a:pt x="91" y="65"/>
                    <a:pt x="101" y="56"/>
                    <a:pt x="101" y="44"/>
                  </a:cubicBezTo>
                  <a:cubicBezTo>
                    <a:pt x="101" y="32"/>
                    <a:pt x="91" y="23"/>
                    <a:pt x="76" y="23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6" y="65"/>
                    <a:pt x="26" y="65"/>
                    <a:pt x="26" y="65"/>
                  </a:cubicBezTo>
                  <a:lnTo>
                    <a:pt x="76" y="65"/>
                  </a:lnTo>
                  <a:close/>
                  <a:moveTo>
                    <a:pt x="79" y="133"/>
                  </a:moveTo>
                  <a:cubicBezTo>
                    <a:pt x="95" y="133"/>
                    <a:pt x="106" y="123"/>
                    <a:pt x="106" y="110"/>
                  </a:cubicBezTo>
                  <a:cubicBezTo>
                    <a:pt x="106" y="97"/>
                    <a:pt x="95" y="86"/>
                    <a:pt x="79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133"/>
                    <a:pt x="26" y="133"/>
                    <a:pt x="26" y="133"/>
                  </a:cubicBezTo>
                  <a:lnTo>
                    <a:pt x="79" y="1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19" name="Freeform 27">
              <a:extLst>
                <a:ext uri="{FF2B5EF4-FFF2-40B4-BE49-F238E27FC236}">
                  <a16:creationId xmlns:a16="http://schemas.microsoft.com/office/drawing/2014/main" id="{D997DDA9-6DE8-4133-ABF2-72B0233530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2401" y="6389587"/>
              <a:ext cx="133093" cy="117843"/>
            </a:xfrm>
            <a:custGeom>
              <a:avLst/>
              <a:gdLst>
                <a:gd name="T0" fmla="*/ 15 w 96"/>
                <a:gd name="T1" fmla="*/ 85 h 85"/>
                <a:gd name="T2" fmla="*/ 0 w 96"/>
                <a:gd name="T3" fmla="*/ 85 h 85"/>
                <a:gd name="T4" fmla="*/ 48 w 96"/>
                <a:gd name="T5" fmla="*/ 0 h 85"/>
                <a:gd name="T6" fmla="*/ 96 w 96"/>
                <a:gd name="T7" fmla="*/ 85 h 85"/>
                <a:gd name="T8" fmla="*/ 81 w 96"/>
                <a:gd name="T9" fmla="*/ 85 h 85"/>
                <a:gd name="T10" fmla="*/ 70 w 96"/>
                <a:gd name="T11" fmla="*/ 66 h 85"/>
                <a:gd name="T12" fmla="*/ 26 w 96"/>
                <a:gd name="T13" fmla="*/ 66 h 85"/>
                <a:gd name="T14" fmla="*/ 15 w 96"/>
                <a:gd name="T15" fmla="*/ 85 h 85"/>
                <a:gd name="T16" fmla="*/ 32 w 96"/>
                <a:gd name="T17" fmla="*/ 55 h 85"/>
                <a:gd name="T18" fmla="*/ 64 w 96"/>
                <a:gd name="T19" fmla="*/ 55 h 85"/>
                <a:gd name="T20" fmla="*/ 48 w 96"/>
                <a:gd name="T21" fmla="*/ 26 h 85"/>
                <a:gd name="T22" fmla="*/ 32 w 96"/>
                <a:gd name="T23" fmla="*/ 5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85">
                  <a:moveTo>
                    <a:pt x="15" y="85"/>
                  </a:moveTo>
                  <a:lnTo>
                    <a:pt x="0" y="85"/>
                  </a:lnTo>
                  <a:lnTo>
                    <a:pt x="48" y="0"/>
                  </a:lnTo>
                  <a:lnTo>
                    <a:pt x="96" y="85"/>
                  </a:lnTo>
                  <a:lnTo>
                    <a:pt x="81" y="85"/>
                  </a:lnTo>
                  <a:lnTo>
                    <a:pt x="70" y="66"/>
                  </a:lnTo>
                  <a:lnTo>
                    <a:pt x="26" y="66"/>
                  </a:lnTo>
                  <a:lnTo>
                    <a:pt x="15" y="85"/>
                  </a:lnTo>
                  <a:close/>
                  <a:moveTo>
                    <a:pt x="32" y="55"/>
                  </a:moveTo>
                  <a:lnTo>
                    <a:pt x="64" y="55"/>
                  </a:lnTo>
                  <a:lnTo>
                    <a:pt x="48" y="26"/>
                  </a:lnTo>
                  <a:lnTo>
                    <a:pt x="32" y="5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0" name="Freeform 28">
              <a:extLst>
                <a:ext uri="{FF2B5EF4-FFF2-40B4-BE49-F238E27FC236}">
                  <a16:creationId xmlns:a16="http://schemas.microsoft.com/office/drawing/2014/main" id="{D8233374-46C8-44EE-B619-A654D858C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222" y="6389587"/>
              <a:ext cx="109525" cy="122002"/>
            </a:xfrm>
            <a:custGeom>
              <a:avLst/>
              <a:gdLst>
                <a:gd name="T0" fmla="*/ 66 w 79"/>
                <a:gd name="T1" fmla="*/ 60 h 88"/>
                <a:gd name="T2" fmla="*/ 66 w 79"/>
                <a:gd name="T3" fmla="*/ 3 h 88"/>
                <a:gd name="T4" fmla="*/ 79 w 79"/>
                <a:gd name="T5" fmla="*/ 3 h 88"/>
                <a:gd name="T6" fmla="*/ 79 w 79"/>
                <a:gd name="T7" fmla="*/ 88 h 88"/>
                <a:gd name="T8" fmla="*/ 13 w 79"/>
                <a:gd name="T9" fmla="*/ 29 h 88"/>
                <a:gd name="T10" fmla="*/ 13 w 79"/>
                <a:gd name="T11" fmla="*/ 85 h 88"/>
                <a:gd name="T12" fmla="*/ 0 w 79"/>
                <a:gd name="T13" fmla="*/ 85 h 88"/>
                <a:gd name="T14" fmla="*/ 0 w 79"/>
                <a:gd name="T15" fmla="*/ 0 h 88"/>
                <a:gd name="T16" fmla="*/ 66 w 79"/>
                <a:gd name="T17" fmla="*/ 6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88">
                  <a:moveTo>
                    <a:pt x="66" y="60"/>
                  </a:moveTo>
                  <a:lnTo>
                    <a:pt x="66" y="3"/>
                  </a:lnTo>
                  <a:lnTo>
                    <a:pt x="79" y="3"/>
                  </a:lnTo>
                  <a:lnTo>
                    <a:pt x="79" y="88"/>
                  </a:lnTo>
                  <a:lnTo>
                    <a:pt x="13" y="29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66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1" name="Freeform 29">
              <a:extLst>
                <a:ext uri="{FF2B5EF4-FFF2-40B4-BE49-F238E27FC236}">
                  <a16:creationId xmlns:a16="http://schemas.microsoft.com/office/drawing/2014/main" id="{061EDB11-62FA-4B9D-A411-0FC89F9E3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2952" y="6393747"/>
              <a:ext cx="105365" cy="113684"/>
            </a:xfrm>
            <a:custGeom>
              <a:avLst/>
              <a:gdLst>
                <a:gd name="T0" fmla="*/ 13 w 76"/>
                <a:gd name="T1" fmla="*/ 82 h 82"/>
                <a:gd name="T2" fmla="*/ 0 w 76"/>
                <a:gd name="T3" fmla="*/ 82 h 82"/>
                <a:gd name="T4" fmla="*/ 0 w 76"/>
                <a:gd name="T5" fmla="*/ 0 h 82"/>
                <a:gd name="T6" fmla="*/ 13 w 76"/>
                <a:gd name="T7" fmla="*/ 0 h 82"/>
                <a:gd name="T8" fmla="*/ 13 w 76"/>
                <a:gd name="T9" fmla="*/ 38 h 82"/>
                <a:gd name="T10" fmla="*/ 55 w 76"/>
                <a:gd name="T11" fmla="*/ 0 h 82"/>
                <a:gd name="T12" fmla="*/ 74 w 76"/>
                <a:gd name="T13" fmla="*/ 0 h 82"/>
                <a:gd name="T14" fmla="*/ 38 w 76"/>
                <a:gd name="T15" fmla="*/ 33 h 82"/>
                <a:gd name="T16" fmla="*/ 76 w 76"/>
                <a:gd name="T17" fmla="*/ 82 h 82"/>
                <a:gd name="T18" fmla="*/ 59 w 76"/>
                <a:gd name="T19" fmla="*/ 82 h 82"/>
                <a:gd name="T20" fmla="*/ 28 w 76"/>
                <a:gd name="T21" fmla="*/ 42 h 82"/>
                <a:gd name="T22" fmla="*/ 13 w 76"/>
                <a:gd name="T23" fmla="*/ 55 h 82"/>
                <a:gd name="T24" fmla="*/ 13 w 76"/>
                <a:gd name="T2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82">
                  <a:moveTo>
                    <a:pt x="13" y="82"/>
                  </a:moveTo>
                  <a:lnTo>
                    <a:pt x="0" y="82"/>
                  </a:lnTo>
                  <a:lnTo>
                    <a:pt x="0" y="0"/>
                  </a:lnTo>
                  <a:lnTo>
                    <a:pt x="13" y="0"/>
                  </a:lnTo>
                  <a:lnTo>
                    <a:pt x="13" y="38"/>
                  </a:lnTo>
                  <a:lnTo>
                    <a:pt x="55" y="0"/>
                  </a:lnTo>
                  <a:lnTo>
                    <a:pt x="74" y="0"/>
                  </a:lnTo>
                  <a:lnTo>
                    <a:pt x="38" y="33"/>
                  </a:lnTo>
                  <a:lnTo>
                    <a:pt x="76" y="82"/>
                  </a:lnTo>
                  <a:lnTo>
                    <a:pt x="59" y="82"/>
                  </a:lnTo>
                  <a:lnTo>
                    <a:pt x="28" y="42"/>
                  </a:lnTo>
                  <a:lnTo>
                    <a:pt x="13" y="55"/>
                  </a:lnTo>
                  <a:lnTo>
                    <a:pt x="13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2" name="Freeform 30">
              <a:extLst>
                <a:ext uri="{FF2B5EF4-FFF2-40B4-BE49-F238E27FC236}">
                  <a16:creationId xmlns:a16="http://schemas.microsoft.com/office/drawing/2014/main" id="{18231EC4-28A4-4F3F-9448-E6D2836821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9806" y="6109537"/>
              <a:ext cx="450576" cy="514350"/>
            </a:xfrm>
            <a:custGeom>
              <a:avLst/>
              <a:gdLst>
                <a:gd name="T0" fmla="*/ 162 w 325"/>
                <a:gd name="T1" fmla="*/ 156 h 371"/>
                <a:gd name="T2" fmla="*/ 0 w 325"/>
                <a:gd name="T3" fmla="*/ 0 h 371"/>
                <a:gd name="T4" fmla="*/ 0 w 325"/>
                <a:gd name="T5" fmla="*/ 371 h 371"/>
                <a:gd name="T6" fmla="*/ 162 w 325"/>
                <a:gd name="T7" fmla="*/ 215 h 371"/>
                <a:gd name="T8" fmla="*/ 162 w 325"/>
                <a:gd name="T9" fmla="*/ 215 h 371"/>
                <a:gd name="T10" fmla="*/ 192 w 325"/>
                <a:gd name="T11" fmla="*/ 185 h 371"/>
                <a:gd name="T12" fmla="*/ 192 w 325"/>
                <a:gd name="T13" fmla="*/ 185 h 371"/>
                <a:gd name="T14" fmla="*/ 283 w 325"/>
                <a:gd name="T15" fmla="*/ 97 h 371"/>
                <a:gd name="T16" fmla="*/ 283 w 325"/>
                <a:gd name="T17" fmla="*/ 273 h 371"/>
                <a:gd name="T18" fmla="*/ 222 w 325"/>
                <a:gd name="T19" fmla="*/ 214 h 371"/>
                <a:gd name="T20" fmla="*/ 192 w 325"/>
                <a:gd name="T21" fmla="*/ 243 h 371"/>
                <a:gd name="T22" fmla="*/ 325 w 325"/>
                <a:gd name="T23" fmla="*/ 371 h 371"/>
                <a:gd name="T24" fmla="*/ 325 w 325"/>
                <a:gd name="T25" fmla="*/ 0 h 371"/>
                <a:gd name="T26" fmla="*/ 162 w 325"/>
                <a:gd name="T27" fmla="*/ 156 h 371"/>
                <a:gd name="T28" fmla="*/ 42 w 325"/>
                <a:gd name="T29" fmla="*/ 273 h 371"/>
                <a:gd name="T30" fmla="*/ 42 w 325"/>
                <a:gd name="T31" fmla="*/ 97 h 371"/>
                <a:gd name="T32" fmla="*/ 133 w 325"/>
                <a:gd name="T33" fmla="*/ 185 h 371"/>
                <a:gd name="T34" fmla="*/ 42 w 325"/>
                <a:gd name="T35" fmla="*/ 273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5" h="371">
                  <a:moveTo>
                    <a:pt x="162" y="156"/>
                  </a:moveTo>
                  <a:lnTo>
                    <a:pt x="0" y="0"/>
                  </a:lnTo>
                  <a:lnTo>
                    <a:pt x="0" y="371"/>
                  </a:lnTo>
                  <a:lnTo>
                    <a:pt x="162" y="215"/>
                  </a:lnTo>
                  <a:lnTo>
                    <a:pt x="162" y="215"/>
                  </a:lnTo>
                  <a:lnTo>
                    <a:pt x="192" y="185"/>
                  </a:lnTo>
                  <a:lnTo>
                    <a:pt x="192" y="185"/>
                  </a:lnTo>
                  <a:lnTo>
                    <a:pt x="283" y="97"/>
                  </a:lnTo>
                  <a:lnTo>
                    <a:pt x="283" y="273"/>
                  </a:lnTo>
                  <a:lnTo>
                    <a:pt x="222" y="214"/>
                  </a:lnTo>
                  <a:lnTo>
                    <a:pt x="192" y="243"/>
                  </a:lnTo>
                  <a:lnTo>
                    <a:pt x="325" y="371"/>
                  </a:lnTo>
                  <a:lnTo>
                    <a:pt x="325" y="0"/>
                  </a:lnTo>
                  <a:lnTo>
                    <a:pt x="162" y="156"/>
                  </a:lnTo>
                  <a:close/>
                  <a:moveTo>
                    <a:pt x="42" y="273"/>
                  </a:moveTo>
                  <a:lnTo>
                    <a:pt x="42" y="97"/>
                  </a:lnTo>
                  <a:lnTo>
                    <a:pt x="133" y="185"/>
                  </a:lnTo>
                  <a:lnTo>
                    <a:pt x="42" y="2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3" name="Freeform 32">
              <a:extLst>
                <a:ext uri="{FF2B5EF4-FFF2-40B4-BE49-F238E27FC236}">
                  <a16:creationId xmlns:a16="http://schemas.microsoft.com/office/drawing/2014/main" id="{DB2C74B0-B3DB-46F7-907B-3823A5B0DF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249" y="6214902"/>
              <a:ext cx="320256" cy="303619"/>
            </a:xfrm>
            <a:custGeom>
              <a:avLst/>
              <a:gdLst>
                <a:gd name="T0" fmla="*/ 231 w 231"/>
                <a:gd name="T1" fmla="*/ 0 h 219"/>
                <a:gd name="T2" fmla="*/ 231 w 231"/>
                <a:gd name="T3" fmla="*/ 210 h 219"/>
                <a:gd name="T4" fmla="*/ 190 w 231"/>
                <a:gd name="T5" fmla="*/ 210 h 219"/>
                <a:gd name="T6" fmla="*/ 190 w 231"/>
                <a:gd name="T7" fmla="*/ 118 h 219"/>
                <a:gd name="T8" fmla="*/ 116 w 231"/>
                <a:gd name="T9" fmla="*/ 219 h 219"/>
                <a:gd name="T10" fmla="*/ 41 w 231"/>
                <a:gd name="T11" fmla="*/ 118 h 219"/>
                <a:gd name="T12" fmla="*/ 41 w 231"/>
                <a:gd name="T13" fmla="*/ 210 h 219"/>
                <a:gd name="T14" fmla="*/ 0 w 231"/>
                <a:gd name="T15" fmla="*/ 210 h 219"/>
                <a:gd name="T16" fmla="*/ 0 w 231"/>
                <a:gd name="T17" fmla="*/ 0 h 219"/>
                <a:gd name="T18" fmla="*/ 116 w 231"/>
                <a:gd name="T19" fmla="*/ 153 h 219"/>
                <a:gd name="T20" fmla="*/ 231 w 231"/>
                <a:gd name="T2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1" h="219">
                  <a:moveTo>
                    <a:pt x="231" y="0"/>
                  </a:moveTo>
                  <a:lnTo>
                    <a:pt x="231" y="210"/>
                  </a:lnTo>
                  <a:lnTo>
                    <a:pt x="190" y="210"/>
                  </a:lnTo>
                  <a:lnTo>
                    <a:pt x="190" y="118"/>
                  </a:lnTo>
                  <a:lnTo>
                    <a:pt x="116" y="219"/>
                  </a:lnTo>
                  <a:lnTo>
                    <a:pt x="41" y="118"/>
                  </a:lnTo>
                  <a:lnTo>
                    <a:pt x="41" y="210"/>
                  </a:lnTo>
                  <a:lnTo>
                    <a:pt x="0" y="210"/>
                  </a:lnTo>
                  <a:lnTo>
                    <a:pt x="0" y="0"/>
                  </a:lnTo>
                  <a:lnTo>
                    <a:pt x="116" y="153"/>
                  </a:lnTo>
                  <a:lnTo>
                    <a:pt x="23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4" name="Freeform 33">
              <a:extLst>
                <a:ext uri="{FF2B5EF4-FFF2-40B4-BE49-F238E27FC236}">
                  <a16:creationId xmlns:a16="http://schemas.microsoft.com/office/drawing/2014/main" id="{D7A52BEF-6847-46F2-A91F-C9ED29065B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3256" y="6219061"/>
              <a:ext cx="300847" cy="293914"/>
            </a:xfrm>
            <a:custGeom>
              <a:avLst/>
              <a:gdLst>
                <a:gd name="T0" fmla="*/ 327 w 409"/>
                <a:gd name="T1" fmla="*/ 200 h 401"/>
                <a:gd name="T2" fmla="*/ 204 w 409"/>
                <a:gd name="T3" fmla="*/ 77 h 401"/>
                <a:gd name="T4" fmla="*/ 82 w 409"/>
                <a:gd name="T5" fmla="*/ 200 h 401"/>
                <a:gd name="T6" fmla="*/ 204 w 409"/>
                <a:gd name="T7" fmla="*/ 324 h 401"/>
                <a:gd name="T8" fmla="*/ 327 w 409"/>
                <a:gd name="T9" fmla="*/ 200 h 401"/>
                <a:gd name="T10" fmla="*/ 409 w 409"/>
                <a:gd name="T11" fmla="*/ 200 h 401"/>
                <a:gd name="T12" fmla="*/ 204 w 409"/>
                <a:gd name="T13" fmla="*/ 401 h 401"/>
                <a:gd name="T14" fmla="*/ 0 w 409"/>
                <a:gd name="T15" fmla="*/ 200 h 401"/>
                <a:gd name="T16" fmla="*/ 204 w 409"/>
                <a:gd name="T17" fmla="*/ 0 h 401"/>
                <a:gd name="T18" fmla="*/ 409 w 409"/>
                <a:gd name="T19" fmla="*/ 20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9" h="401">
                  <a:moveTo>
                    <a:pt x="327" y="200"/>
                  </a:moveTo>
                  <a:cubicBezTo>
                    <a:pt x="327" y="132"/>
                    <a:pt x="272" y="77"/>
                    <a:pt x="204" y="77"/>
                  </a:cubicBezTo>
                  <a:cubicBezTo>
                    <a:pt x="137" y="77"/>
                    <a:pt x="82" y="132"/>
                    <a:pt x="82" y="200"/>
                  </a:cubicBezTo>
                  <a:cubicBezTo>
                    <a:pt x="82" y="268"/>
                    <a:pt x="137" y="324"/>
                    <a:pt x="204" y="324"/>
                  </a:cubicBezTo>
                  <a:cubicBezTo>
                    <a:pt x="272" y="324"/>
                    <a:pt x="327" y="268"/>
                    <a:pt x="327" y="200"/>
                  </a:cubicBezTo>
                  <a:moveTo>
                    <a:pt x="409" y="200"/>
                  </a:moveTo>
                  <a:cubicBezTo>
                    <a:pt x="409" y="311"/>
                    <a:pt x="317" y="401"/>
                    <a:pt x="204" y="401"/>
                  </a:cubicBezTo>
                  <a:cubicBezTo>
                    <a:pt x="92" y="401"/>
                    <a:pt x="0" y="311"/>
                    <a:pt x="0" y="200"/>
                  </a:cubicBezTo>
                  <a:cubicBezTo>
                    <a:pt x="0" y="89"/>
                    <a:pt x="92" y="0"/>
                    <a:pt x="204" y="0"/>
                  </a:cubicBezTo>
                  <a:cubicBezTo>
                    <a:pt x="317" y="0"/>
                    <a:pt x="409" y="89"/>
                    <a:pt x="409" y="20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5" name="Freeform 34">
              <a:extLst>
                <a:ext uri="{FF2B5EF4-FFF2-40B4-BE49-F238E27FC236}">
                  <a16:creationId xmlns:a16="http://schemas.microsoft.com/office/drawing/2014/main" id="{5BDA42F0-B836-4E59-AF93-6A88CEE84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534" y="6214902"/>
              <a:ext cx="278664" cy="303619"/>
            </a:xfrm>
            <a:custGeom>
              <a:avLst/>
              <a:gdLst>
                <a:gd name="T0" fmla="*/ 160 w 201"/>
                <a:gd name="T1" fmla="*/ 133 h 219"/>
                <a:gd name="T2" fmla="*/ 160 w 201"/>
                <a:gd name="T3" fmla="*/ 8 h 219"/>
                <a:gd name="T4" fmla="*/ 201 w 201"/>
                <a:gd name="T5" fmla="*/ 8 h 219"/>
                <a:gd name="T6" fmla="*/ 201 w 201"/>
                <a:gd name="T7" fmla="*/ 219 h 219"/>
                <a:gd name="T8" fmla="*/ 41 w 201"/>
                <a:gd name="T9" fmla="*/ 85 h 219"/>
                <a:gd name="T10" fmla="*/ 41 w 201"/>
                <a:gd name="T11" fmla="*/ 210 h 219"/>
                <a:gd name="T12" fmla="*/ 0 w 201"/>
                <a:gd name="T13" fmla="*/ 210 h 219"/>
                <a:gd name="T14" fmla="*/ 0 w 201"/>
                <a:gd name="T15" fmla="*/ 0 h 219"/>
                <a:gd name="T16" fmla="*/ 160 w 201"/>
                <a:gd name="T17" fmla="*/ 133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1" h="219">
                  <a:moveTo>
                    <a:pt x="160" y="133"/>
                  </a:moveTo>
                  <a:lnTo>
                    <a:pt x="160" y="8"/>
                  </a:lnTo>
                  <a:lnTo>
                    <a:pt x="201" y="8"/>
                  </a:lnTo>
                  <a:lnTo>
                    <a:pt x="201" y="219"/>
                  </a:lnTo>
                  <a:lnTo>
                    <a:pt x="41" y="85"/>
                  </a:lnTo>
                  <a:lnTo>
                    <a:pt x="41" y="210"/>
                  </a:lnTo>
                  <a:lnTo>
                    <a:pt x="0" y="210"/>
                  </a:lnTo>
                  <a:lnTo>
                    <a:pt x="0" y="0"/>
                  </a:lnTo>
                  <a:lnTo>
                    <a:pt x="160" y="1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6" name="Freeform 35">
              <a:extLst>
                <a:ext uri="{FF2B5EF4-FFF2-40B4-BE49-F238E27FC236}">
                  <a16:creationId xmlns:a16="http://schemas.microsoft.com/office/drawing/2014/main" id="{64155C6B-8600-4716-8E49-2BAA7BB55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7040" y="6225994"/>
              <a:ext cx="216276" cy="280050"/>
            </a:xfrm>
            <a:custGeom>
              <a:avLst/>
              <a:gdLst>
                <a:gd name="T0" fmla="*/ 152 w 156"/>
                <a:gd name="T1" fmla="*/ 83 h 202"/>
                <a:gd name="T2" fmla="*/ 152 w 156"/>
                <a:gd name="T3" fmla="*/ 119 h 202"/>
                <a:gd name="T4" fmla="*/ 43 w 156"/>
                <a:gd name="T5" fmla="*/ 119 h 202"/>
                <a:gd name="T6" fmla="*/ 43 w 156"/>
                <a:gd name="T7" fmla="*/ 165 h 202"/>
                <a:gd name="T8" fmla="*/ 156 w 156"/>
                <a:gd name="T9" fmla="*/ 165 h 202"/>
                <a:gd name="T10" fmla="*/ 156 w 156"/>
                <a:gd name="T11" fmla="*/ 202 h 202"/>
                <a:gd name="T12" fmla="*/ 0 w 156"/>
                <a:gd name="T13" fmla="*/ 202 h 202"/>
                <a:gd name="T14" fmla="*/ 0 w 156"/>
                <a:gd name="T15" fmla="*/ 0 h 202"/>
                <a:gd name="T16" fmla="*/ 156 w 156"/>
                <a:gd name="T17" fmla="*/ 0 h 202"/>
                <a:gd name="T18" fmla="*/ 156 w 156"/>
                <a:gd name="T19" fmla="*/ 38 h 202"/>
                <a:gd name="T20" fmla="*/ 43 w 156"/>
                <a:gd name="T21" fmla="*/ 38 h 202"/>
                <a:gd name="T22" fmla="*/ 43 w 156"/>
                <a:gd name="T23" fmla="*/ 83 h 202"/>
                <a:gd name="T24" fmla="*/ 152 w 156"/>
                <a:gd name="T25" fmla="*/ 83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6" h="202">
                  <a:moveTo>
                    <a:pt x="152" y="83"/>
                  </a:moveTo>
                  <a:lnTo>
                    <a:pt x="152" y="119"/>
                  </a:lnTo>
                  <a:lnTo>
                    <a:pt x="43" y="119"/>
                  </a:lnTo>
                  <a:lnTo>
                    <a:pt x="43" y="165"/>
                  </a:lnTo>
                  <a:lnTo>
                    <a:pt x="156" y="165"/>
                  </a:lnTo>
                  <a:lnTo>
                    <a:pt x="156" y="202"/>
                  </a:lnTo>
                  <a:lnTo>
                    <a:pt x="0" y="202"/>
                  </a:lnTo>
                  <a:lnTo>
                    <a:pt x="0" y="0"/>
                  </a:lnTo>
                  <a:lnTo>
                    <a:pt x="156" y="0"/>
                  </a:lnTo>
                  <a:lnTo>
                    <a:pt x="156" y="38"/>
                  </a:lnTo>
                  <a:lnTo>
                    <a:pt x="43" y="38"/>
                  </a:lnTo>
                  <a:lnTo>
                    <a:pt x="43" y="83"/>
                  </a:lnTo>
                  <a:lnTo>
                    <a:pt x="152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7" name="Freeform 36">
              <a:extLst>
                <a:ext uri="{FF2B5EF4-FFF2-40B4-BE49-F238E27FC236}">
                  <a16:creationId xmlns:a16="http://schemas.microsoft.com/office/drawing/2014/main" id="{C7287983-C5F3-41D9-B3F0-0D2284BBA3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6590" y="6225994"/>
              <a:ext cx="281437" cy="280050"/>
            </a:xfrm>
            <a:custGeom>
              <a:avLst/>
              <a:gdLst>
                <a:gd name="T0" fmla="*/ 103 w 203"/>
                <a:gd name="T1" fmla="*/ 38 h 202"/>
                <a:gd name="T2" fmla="*/ 103 w 203"/>
                <a:gd name="T3" fmla="*/ 202 h 202"/>
                <a:gd name="T4" fmla="*/ 61 w 203"/>
                <a:gd name="T5" fmla="*/ 202 h 202"/>
                <a:gd name="T6" fmla="*/ 61 w 203"/>
                <a:gd name="T7" fmla="*/ 38 h 202"/>
                <a:gd name="T8" fmla="*/ 0 w 203"/>
                <a:gd name="T9" fmla="*/ 38 h 202"/>
                <a:gd name="T10" fmla="*/ 0 w 203"/>
                <a:gd name="T11" fmla="*/ 0 h 202"/>
                <a:gd name="T12" fmla="*/ 203 w 203"/>
                <a:gd name="T13" fmla="*/ 0 h 202"/>
                <a:gd name="T14" fmla="*/ 181 w 203"/>
                <a:gd name="T15" fmla="*/ 38 h 202"/>
                <a:gd name="T16" fmla="*/ 103 w 203"/>
                <a:gd name="T17" fmla="*/ 38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202">
                  <a:moveTo>
                    <a:pt x="103" y="38"/>
                  </a:moveTo>
                  <a:lnTo>
                    <a:pt x="103" y="202"/>
                  </a:lnTo>
                  <a:lnTo>
                    <a:pt x="61" y="202"/>
                  </a:lnTo>
                  <a:lnTo>
                    <a:pt x="61" y="38"/>
                  </a:lnTo>
                  <a:lnTo>
                    <a:pt x="0" y="38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181" y="38"/>
                  </a:lnTo>
                  <a:lnTo>
                    <a:pt x="103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8" name="Freeform 37">
              <a:extLst>
                <a:ext uri="{FF2B5EF4-FFF2-40B4-BE49-F238E27FC236}">
                  <a16:creationId xmlns:a16="http://schemas.microsoft.com/office/drawing/2014/main" id="{9970533B-C157-48CE-86DF-3F5BBB64CD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6820" y="6214902"/>
              <a:ext cx="335506" cy="291141"/>
            </a:xfrm>
            <a:custGeom>
              <a:avLst/>
              <a:gdLst>
                <a:gd name="T0" fmla="*/ 88 w 242"/>
                <a:gd name="T1" fmla="*/ 139 h 210"/>
                <a:gd name="T2" fmla="*/ 154 w 242"/>
                <a:gd name="T3" fmla="*/ 139 h 210"/>
                <a:gd name="T4" fmla="*/ 121 w 242"/>
                <a:gd name="T5" fmla="*/ 79 h 210"/>
                <a:gd name="T6" fmla="*/ 88 w 242"/>
                <a:gd name="T7" fmla="*/ 139 h 210"/>
                <a:gd name="T8" fmla="*/ 47 w 242"/>
                <a:gd name="T9" fmla="*/ 210 h 210"/>
                <a:gd name="T10" fmla="*/ 0 w 242"/>
                <a:gd name="T11" fmla="*/ 210 h 210"/>
                <a:gd name="T12" fmla="*/ 121 w 242"/>
                <a:gd name="T13" fmla="*/ 0 h 210"/>
                <a:gd name="T14" fmla="*/ 242 w 242"/>
                <a:gd name="T15" fmla="*/ 210 h 210"/>
                <a:gd name="T16" fmla="*/ 195 w 242"/>
                <a:gd name="T17" fmla="*/ 210 h 210"/>
                <a:gd name="T18" fmla="*/ 174 w 242"/>
                <a:gd name="T19" fmla="*/ 172 h 210"/>
                <a:gd name="T20" fmla="*/ 69 w 242"/>
                <a:gd name="T21" fmla="*/ 172 h 210"/>
                <a:gd name="T22" fmla="*/ 47 w 242"/>
                <a:gd name="T2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10">
                  <a:moveTo>
                    <a:pt x="88" y="139"/>
                  </a:moveTo>
                  <a:lnTo>
                    <a:pt x="154" y="139"/>
                  </a:lnTo>
                  <a:lnTo>
                    <a:pt x="121" y="79"/>
                  </a:lnTo>
                  <a:lnTo>
                    <a:pt x="88" y="139"/>
                  </a:lnTo>
                  <a:close/>
                  <a:moveTo>
                    <a:pt x="47" y="210"/>
                  </a:moveTo>
                  <a:lnTo>
                    <a:pt x="0" y="210"/>
                  </a:lnTo>
                  <a:lnTo>
                    <a:pt x="121" y="0"/>
                  </a:lnTo>
                  <a:lnTo>
                    <a:pt x="242" y="210"/>
                  </a:lnTo>
                  <a:lnTo>
                    <a:pt x="195" y="210"/>
                  </a:lnTo>
                  <a:lnTo>
                    <a:pt x="174" y="172"/>
                  </a:lnTo>
                  <a:lnTo>
                    <a:pt x="69" y="172"/>
                  </a:lnTo>
                  <a:lnTo>
                    <a:pt x="47" y="2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9" name="Rectangle 38">
              <a:extLst>
                <a:ext uri="{FF2B5EF4-FFF2-40B4-BE49-F238E27FC236}">
                  <a16:creationId xmlns:a16="http://schemas.microsoft.com/office/drawing/2014/main" id="{133F5584-47F5-44E5-A198-AD5277F999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192" y="6112310"/>
              <a:ext cx="13864" cy="50741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30" name="Rectangle 39">
              <a:extLst>
                <a:ext uri="{FF2B5EF4-FFF2-40B4-BE49-F238E27FC236}">
                  <a16:creationId xmlns:a16="http://schemas.microsoft.com/office/drawing/2014/main" id="{43E39F11-15B2-46CF-BDF7-C3BD1DA0B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192" y="6112310"/>
              <a:ext cx="13864" cy="50741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28397056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I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B7AA4DD-C81E-4EB5-82B9-7718047366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48099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B7AA4DD-C81E-4EB5-82B9-7718047366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82D55D7D-632C-462E-8F4F-42F0FB643D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935228"/>
            <a:ext cx="11214743" cy="341632"/>
          </a:xfrm>
        </p:spPr>
        <p:txBody>
          <a:bodyPr anchor="ctr" anchorCtr="0"/>
          <a:lstStyle>
            <a:lvl1pPr>
              <a:defRPr/>
            </a:lvl1pPr>
          </a:lstStyle>
          <a:p>
            <a:r>
              <a:rPr lang="cs-CZ"/>
              <a:t>Kliknutím lze upravit styl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402903AC-7344-48D0-A7DF-6AC75905FB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B5722A-C014-4A71-ACF9-225F5CE7830F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5" name="Zástupný symbol pro text 4">
            <a:extLst>
              <a:ext uri="{FF2B5EF4-FFF2-40B4-BE49-F238E27FC236}">
                <a16:creationId xmlns:a16="http://schemas.microsoft.com/office/drawing/2014/main" id="{99947351-73B9-4543-9FEE-CA1187E6AA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979" y="481788"/>
            <a:ext cx="11456043" cy="276999"/>
          </a:xfrm>
        </p:spPr>
        <p:txBody>
          <a:bodyPr anchor="b" anchorCtr="0">
            <a:spAutoFit/>
          </a:bodyPr>
          <a:lstStyle>
            <a:lvl1pPr>
              <a:defRPr sz="1800" cap="all" baseline="0">
                <a:solidFill>
                  <a:schemeClr val="accent3"/>
                </a:solidFill>
                <a:latin typeface="bill corp mx light" panose="020B0604020202020204" charset="-18"/>
              </a:defRPr>
            </a:lvl1pPr>
          </a:lstStyle>
          <a:p>
            <a:pPr lvl="0"/>
            <a:r>
              <a:rPr lang="cs-CZ"/>
              <a:t>Kliknutím vložíte nadpis</a:t>
            </a:r>
          </a:p>
        </p:txBody>
      </p:sp>
      <p:cxnSp>
        <p:nvCxnSpPr>
          <p:cNvPr id="7" name="Přímá spojnice 6">
            <a:extLst>
              <a:ext uri="{FF2B5EF4-FFF2-40B4-BE49-F238E27FC236}">
                <a16:creationId xmlns:a16="http://schemas.microsoft.com/office/drawing/2014/main" id="{AF662592-AB05-4793-B751-671B5EF8A256}"/>
              </a:ext>
            </a:extLst>
          </p:cNvPr>
          <p:cNvCxnSpPr/>
          <p:nvPr userDrawn="1"/>
        </p:nvCxnSpPr>
        <p:spPr>
          <a:xfrm>
            <a:off x="367657" y="784440"/>
            <a:ext cx="0" cy="64321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</p:custDataLst>
    <p:extLst>
      <p:ext uri="{BB962C8B-B14F-4D97-AF65-F5344CB8AC3E}">
        <p14:creationId xmlns:p14="http://schemas.microsoft.com/office/powerpoint/2010/main" val="23883655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F1A3BB2-7296-4812-BB13-447F8CD95F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6047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F1A3BB2-7296-4812-BB13-447F8CD95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3D2E89A-1544-415B-8E1B-1760636D4BF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95EFD3-D3F4-4140-BBFF-CB8E4FA41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CF39E8-234B-4C6C-AD21-218CB522B8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B5722A-C014-4A71-ACF9-225F5CE7830F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487616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F1A3BB2-7296-4812-BB13-447F8CD95F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1136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F1A3BB2-7296-4812-BB13-447F8CD95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3D2E89A-1544-415B-8E1B-1760636D4BF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95EFD3-D3F4-4140-BBFF-CB8E4FA41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CF39E8-234B-4C6C-AD21-218CB522B8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B5722A-C014-4A71-ACF9-225F5CE7830F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18070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3245835"/>
              </p:ext>
            </p:extLst>
          </p:nvPr>
        </p:nvGraphicFramePr>
        <p:xfrm>
          <a:off x="2119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4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A6E7F08-326F-4E5C-8739-0EAD3F577D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Arial Unicode MS"/>
              <a:sym typeface="Calibri Light" panose="020F0302020204030204" pitchFamily="34" charset="0"/>
            </a:endParaRPr>
          </a:p>
        </p:txBody>
      </p:sp>
      <p:sp>
        <p:nvSpPr>
          <p:cNvPr id="7" name="Volný tvar: obrazec 29">
            <a:extLst>
              <a:ext uri="{FF2B5EF4-FFF2-40B4-BE49-F238E27FC236}">
                <a16:creationId xmlns:a16="http://schemas.microsoft.com/office/drawing/2014/main" id="{1E923EEE-E7FF-4BB0-8B51-A1F3CC382A7F}"/>
              </a:ext>
            </a:extLst>
          </p:cNvPr>
          <p:cNvSpPr/>
          <p:nvPr userDrawn="1"/>
        </p:nvSpPr>
        <p:spPr>
          <a:xfrm>
            <a:off x="4233" y="6079137"/>
            <a:ext cx="12192000" cy="45719"/>
          </a:xfrm>
          <a:custGeom>
            <a:avLst/>
            <a:gdLst>
              <a:gd name="connsiteX0" fmla="*/ 0 w 9144000"/>
              <a:gd name="connsiteY0" fmla="*/ 0 h 701040"/>
              <a:gd name="connsiteX1" fmla="*/ 9144000 w 9144000"/>
              <a:gd name="connsiteY1" fmla="*/ 0 h 701040"/>
              <a:gd name="connsiteX2" fmla="*/ 9144000 w 9144000"/>
              <a:gd name="connsiteY2" fmla="*/ 701040 h 701040"/>
              <a:gd name="connsiteX3" fmla="*/ 0 w 9144000"/>
              <a:gd name="connsiteY3" fmla="*/ 701040 h 701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701040">
                <a:moveTo>
                  <a:pt x="0" y="0"/>
                </a:moveTo>
                <a:lnTo>
                  <a:pt x="9144000" y="0"/>
                </a:lnTo>
                <a:lnTo>
                  <a:pt x="9144000" y="701040"/>
                </a:lnTo>
                <a:lnTo>
                  <a:pt x="0" y="701040"/>
                </a:lnTo>
                <a:close/>
              </a:path>
            </a:pathLst>
          </a:custGeom>
          <a:gradFill>
            <a:gsLst>
              <a:gs pos="65000">
                <a:srgbClr val="541C3C"/>
              </a:gs>
              <a:gs pos="8000">
                <a:srgbClr val="FB2C16"/>
              </a:gs>
              <a:gs pos="100000">
                <a:srgbClr val="0F154B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cs-CZ" sz="1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929558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A1AB452-98F6-48B9-912B-89A9B7039C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84982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A1AB452-98F6-48B9-912B-89A9B7039C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délník 4">
            <a:extLst>
              <a:ext uri="{FF2B5EF4-FFF2-40B4-BE49-F238E27FC236}">
                <a16:creationId xmlns:a16="http://schemas.microsoft.com/office/drawing/2014/main" id="{DEAC9763-6B83-47F0-B09F-FF096037E283}"/>
              </a:ext>
            </a:extLst>
          </p:cNvPr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62624" y="2991511"/>
            <a:ext cx="6421377" cy="983346"/>
          </a:xfrm>
        </p:spPr>
        <p:txBody>
          <a:bodyPr vert="horz" wrap="square" bIns="0" anchor="b">
            <a:spAutoFit/>
          </a:bodyPr>
          <a:lstStyle>
            <a:lvl1pPr algn="r">
              <a:lnSpc>
                <a:spcPct val="85000"/>
              </a:lnSpc>
              <a:defRPr sz="7200">
                <a:latin typeface="bill corp mx super" panose="020B0604020202020204" charset="-18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62624" y="4987699"/>
            <a:ext cx="6421377" cy="430887"/>
          </a:xfrm>
        </p:spPr>
        <p:txBody>
          <a:bodyPr wrap="square" tIns="0">
            <a:spAutoFit/>
          </a:bodyPr>
          <a:lstStyle>
            <a:lvl1pPr marL="0" indent="0" algn="r">
              <a:spcBef>
                <a:spcPts val="0"/>
              </a:spcBef>
              <a:buNone/>
              <a:defRPr sz="2800">
                <a:solidFill>
                  <a:schemeClr val="accent1"/>
                </a:solidFill>
                <a:latin typeface="bill corp mx light" panose="020B0604020202020204" charset="-1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Date</a:t>
            </a:r>
          </a:p>
        </p:txBody>
      </p:sp>
      <p:sp>
        <p:nvSpPr>
          <p:cNvPr id="13" name="Volný tvar: obrazec 12">
            <a:extLst>
              <a:ext uri="{FF2B5EF4-FFF2-40B4-BE49-F238E27FC236}">
                <a16:creationId xmlns:a16="http://schemas.microsoft.com/office/drawing/2014/main" id="{6B4D6124-EE6F-4E5A-8D41-2E72840C9D5C}"/>
              </a:ext>
            </a:extLst>
          </p:cNvPr>
          <p:cNvSpPr/>
          <p:nvPr userDrawn="1"/>
        </p:nvSpPr>
        <p:spPr>
          <a:xfrm>
            <a:off x="4352082" y="5760223"/>
            <a:ext cx="7331919" cy="868680"/>
          </a:xfrm>
          <a:custGeom>
            <a:avLst/>
            <a:gdLst>
              <a:gd name="connsiteX0" fmla="*/ 555094 w 9144000"/>
              <a:gd name="connsiteY0" fmla="*/ 0 h 1205276"/>
              <a:gd name="connsiteX1" fmla="*/ 682552 w 9144000"/>
              <a:gd name="connsiteY1" fmla="*/ 219756 h 1205276"/>
              <a:gd name="connsiteX2" fmla="*/ 9144000 w 9144000"/>
              <a:gd name="connsiteY2" fmla="*/ 219756 h 1205276"/>
              <a:gd name="connsiteX3" fmla="*/ 9144000 w 9144000"/>
              <a:gd name="connsiteY3" fmla="*/ 1205276 h 1205276"/>
              <a:gd name="connsiteX4" fmla="*/ 0 w 9144000"/>
              <a:gd name="connsiteY4" fmla="*/ 1205276 h 1205276"/>
              <a:gd name="connsiteX5" fmla="*/ 0 w 9144000"/>
              <a:gd name="connsiteY5" fmla="*/ 219756 h 1205276"/>
              <a:gd name="connsiteX6" fmla="*/ 427636 w 9144000"/>
              <a:gd name="connsiteY6" fmla="*/ 219756 h 1205276"/>
              <a:gd name="connsiteX0" fmla="*/ 427636 w 9144000"/>
              <a:gd name="connsiteY0" fmla="*/ 0 h 985520"/>
              <a:gd name="connsiteX1" fmla="*/ 682552 w 9144000"/>
              <a:gd name="connsiteY1" fmla="*/ 0 h 985520"/>
              <a:gd name="connsiteX2" fmla="*/ 9144000 w 9144000"/>
              <a:gd name="connsiteY2" fmla="*/ 0 h 985520"/>
              <a:gd name="connsiteX3" fmla="*/ 9144000 w 9144000"/>
              <a:gd name="connsiteY3" fmla="*/ 985520 h 985520"/>
              <a:gd name="connsiteX4" fmla="*/ 0 w 9144000"/>
              <a:gd name="connsiteY4" fmla="*/ 985520 h 985520"/>
              <a:gd name="connsiteX5" fmla="*/ 0 w 9144000"/>
              <a:gd name="connsiteY5" fmla="*/ 0 h 985520"/>
              <a:gd name="connsiteX6" fmla="*/ 427636 w 9144000"/>
              <a:gd name="connsiteY6" fmla="*/ 0 h 985520"/>
              <a:gd name="connsiteX0" fmla="*/ 427636 w 9144000"/>
              <a:gd name="connsiteY0" fmla="*/ 0 h 985520"/>
              <a:gd name="connsiteX1" fmla="*/ 9144000 w 9144000"/>
              <a:gd name="connsiteY1" fmla="*/ 0 h 985520"/>
              <a:gd name="connsiteX2" fmla="*/ 9144000 w 9144000"/>
              <a:gd name="connsiteY2" fmla="*/ 985520 h 985520"/>
              <a:gd name="connsiteX3" fmla="*/ 0 w 9144000"/>
              <a:gd name="connsiteY3" fmla="*/ 985520 h 985520"/>
              <a:gd name="connsiteX4" fmla="*/ 0 w 9144000"/>
              <a:gd name="connsiteY4" fmla="*/ 0 h 985520"/>
              <a:gd name="connsiteX5" fmla="*/ 427636 w 9144000"/>
              <a:gd name="connsiteY5" fmla="*/ 0 h 985520"/>
              <a:gd name="connsiteX0" fmla="*/ 0 w 9144000"/>
              <a:gd name="connsiteY0" fmla="*/ 0 h 985520"/>
              <a:gd name="connsiteX1" fmla="*/ 9144000 w 9144000"/>
              <a:gd name="connsiteY1" fmla="*/ 0 h 985520"/>
              <a:gd name="connsiteX2" fmla="*/ 9144000 w 9144000"/>
              <a:gd name="connsiteY2" fmla="*/ 985520 h 985520"/>
              <a:gd name="connsiteX3" fmla="*/ 0 w 9144000"/>
              <a:gd name="connsiteY3" fmla="*/ 985520 h 985520"/>
              <a:gd name="connsiteX4" fmla="*/ 0 w 9144000"/>
              <a:gd name="connsiteY4" fmla="*/ 0 h 985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985520">
                <a:moveTo>
                  <a:pt x="0" y="0"/>
                </a:moveTo>
                <a:lnTo>
                  <a:pt x="9144000" y="0"/>
                </a:lnTo>
                <a:lnTo>
                  <a:pt x="9144000" y="985520"/>
                </a:lnTo>
                <a:lnTo>
                  <a:pt x="0" y="98552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65000">
                <a:srgbClr val="541C3C"/>
              </a:gs>
              <a:gs pos="8000">
                <a:srgbClr val="FB2C16"/>
              </a:gs>
              <a:gs pos="100000">
                <a:srgbClr val="0F154B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cs-CZ" sz="1800"/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A69B2288-6A68-43AE-A6A3-D2C45A30E07F}"/>
              </a:ext>
            </a:extLst>
          </p:cNvPr>
          <p:cNvGrpSpPr/>
          <p:nvPr userDrawn="1"/>
        </p:nvGrpSpPr>
        <p:grpSpPr>
          <a:xfrm>
            <a:off x="9339943" y="6028149"/>
            <a:ext cx="2076068" cy="310086"/>
            <a:chOff x="329806" y="6109537"/>
            <a:chExt cx="3441015" cy="514350"/>
          </a:xfrm>
        </p:grpSpPr>
        <p:sp>
          <p:nvSpPr>
            <p:cNvPr id="15" name="Freeform 21">
              <a:extLst>
                <a:ext uri="{FF2B5EF4-FFF2-40B4-BE49-F238E27FC236}">
                  <a16:creationId xmlns:a16="http://schemas.microsoft.com/office/drawing/2014/main" id="{6991FF53-FDA1-4935-A352-2AAD62C50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0104" y="6220448"/>
              <a:ext cx="127548" cy="123389"/>
            </a:xfrm>
            <a:custGeom>
              <a:avLst/>
              <a:gdLst>
                <a:gd name="T0" fmla="*/ 92 w 92"/>
                <a:gd name="T1" fmla="*/ 0 h 89"/>
                <a:gd name="T2" fmla="*/ 92 w 92"/>
                <a:gd name="T3" fmla="*/ 85 h 89"/>
                <a:gd name="T4" fmla="*/ 78 w 92"/>
                <a:gd name="T5" fmla="*/ 85 h 89"/>
                <a:gd name="T6" fmla="*/ 78 w 92"/>
                <a:gd name="T7" fmla="*/ 41 h 89"/>
                <a:gd name="T8" fmla="*/ 46 w 92"/>
                <a:gd name="T9" fmla="*/ 89 h 89"/>
                <a:gd name="T10" fmla="*/ 13 w 92"/>
                <a:gd name="T11" fmla="*/ 41 h 89"/>
                <a:gd name="T12" fmla="*/ 13 w 92"/>
                <a:gd name="T13" fmla="*/ 85 h 89"/>
                <a:gd name="T14" fmla="*/ 0 w 92"/>
                <a:gd name="T15" fmla="*/ 85 h 89"/>
                <a:gd name="T16" fmla="*/ 0 w 92"/>
                <a:gd name="T17" fmla="*/ 0 h 89"/>
                <a:gd name="T18" fmla="*/ 46 w 92"/>
                <a:gd name="T19" fmla="*/ 66 h 89"/>
                <a:gd name="T20" fmla="*/ 92 w 92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89">
                  <a:moveTo>
                    <a:pt x="92" y="0"/>
                  </a:moveTo>
                  <a:lnTo>
                    <a:pt x="92" y="85"/>
                  </a:lnTo>
                  <a:lnTo>
                    <a:pt x="78" y="85"/>
                  </a:lnTo>
                  <a:lnTo>
                    <a:pt x="78" y="41"/>
                  </a:lnTo>
                  <a:lnTo>
                    <a:pt x="46" y="89"/>
                  </a:lnTo>
                  <a:lnTo>
                    <a:pt x="13" y="41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46" y="66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16" name="Freeform 22">
              <a:extLst>
                <a:ext uri="{FF2B5EF4-FFF2-40B4-BE49-F238E27FC236}">
                  <a16:creationId xmlns:a16="http://schemas.microsoft.com/office/drawing/2014/main" id="{EF709C6F-5440-4D34-AD48-84D77E0EA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50925" y="6223221"/>
              <a:ext cx="119229" cy="117843"/>
            </a:xfrm>
            <a:custGeom>
              <a:avLst/>
              <a:gdLst>
                <a:gd name="T0" fmla="*/ 162 w 162"/>
                <a:gd name="T1" fmla="*/ 80 h 161"/>
                <a:gd name="T2" fmla="*/ 81 w 162"/>
                <a:gd name="T3" fmla="*/ 161 h 161"/>
                <a:gd name="T4" fmla="*/ 0 w 162"/>
                <a:gd name="T5" fmla="*/ 80 h 161"/>
                <a:gd name="T6" fmla="*/ 81 w 162"/>
                <a:gd name="T7" fmla="*/ 0 h 161"/>
                <a:gd name="T8" fmla="*/ 162 w 162"/>
                <a:gd name="T9" fmla="*/ 80 h 161"/>
                <a:gd name="T10" fmla="*/ 136 w 162"/>
                <a:gd name="T11" fmla="*/ 80 h 161"/>
                <a:gd name="T12" fmla="*/ 81 w 162"/>
                <a:gd name="T13" fmla="*/ 24 h 161"/>
                <a:gd name="T14" fmla="*/ 26 w 162"/>
                <a:gd name="T15" fmla="*/ 80 h 161"/>
                <a:gd name="T16" fmla="*/ 81 w 162"/>
                <a:gd name="T17" fmla="*/ 136 h 161"/>
                <a:gd name="T18" fmla="*/ 136 w 162"/>
                <a:gd name="T19" fmla="*/ 8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1">
                  <a:moveTo>
                    <a:pt x="162" y="80"/>
                  </a:moveTo>
                  <a:cubicBezTo>
                    <a:pt x="162" y="125"/>
                    <a:pt x="126" y="161"/>
                    <a:pt x="81" y="161"/>
                  </a:cubicBezTo>
                  <a:cubicBezTo>
                    <a:pt x="36" y="161"/>
                    <a:pt x="0" y="125"/>
                    <a:pt x="0" y="80"/>
                  </a:cubicBezTo>
                  <a:cubicBezTo>
                    <a:pt x="0" y="36"/>
                    <a:pt x="36" y="0"/>
                    <a:pt x="81" y="0"/>
                  </a:cubicBezTo>
                  <a:cubicBezTo>
                    <a:pt x="126" y="0"/>
                    <a:pt x="162" y="36"/>
                    <a:pt x="162" y="80"/>
                  </a:cubicBezTo>
                  <a:moveTo>
                    <a:pt x="136" y="80"/>
                  </a:moveTo>
                  <a:cubicBezTo>
                    <a:pt x="136" y="49"/>
                    <a:pt x="111" y="24"/>
                    <a:pt x="81" y="24"/>
                  </a:cubicBezTo>
                  <a:cubicBezTo>
                    <a:pt x="51" y="24"/>
                    <a:pt x="26" y="49"/>
                    <a:pt x="26" y="80"/>
                  </a:cubicBezTo>
                  <a:cubicBezTo>
                    <a:pt x="26" y="111"/>
                    <a:pt x="51" y="136"/>
                    <a:pt x="81" y="136"/>
                  </a:cubicBezTo>
                  <a:cubicBezTo>
                    <a:pt x="111" y="136"/>
                    <a:pt x="136" y="111"/>
                    <a:pt x="136" y="8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17" name="Freeform 23">
              <a:extLst>
                <a:ext uri="{FF2B5EF4-FFF2-40B4-BE49-F238E27FC236}">
                  <a16:creationId xmlns:a16="http://schemas.microsoft.com/office/drawing/2014/main" id="{D9293334-EED6-49C3-88D3-2E6826A56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4814" y="6220448"/>
              <a:ext cx="109525" cy="123389"/>
            </a:xfrm>
            <a:custGeom>
              <a:avLst/>
              <a:gdLst>
                <a:gd name="T0" fmla="*/ 66 w 79"/>
                <a:gd name="T1" fmla="*/ 60 h 89"/>
                <a:gd name="T2" fmla="*/ 66 w 79"/>
                <a:gd name="T3" fmla="*/ 4 h 89"/>
                <a:gd name="T4" fmla="*/ 79 w 79"/>
                <a:gd name="T5" fmla="*/ 4 h 89"/>
                <a:gd name="T6" fmla="*/ 79 w 79"/>
                <a:gd name="T7" fmla="*/ 89 h 89"/>
                <a:gd name="T8" fmla="*/ 13 w 79"/>
                <a:gd name="T9" fmla="*/ 29 h 89"/>
                <a:gd name="T10" fmla="*/ 13 w 79"/>
                <a:gd name="T11" fmla="*/ 85 h 89"/>
                <a:gd name="T12" fmla="*/ 0 w 79"/>
                <a:gd name="T13" fmla="*/ 85 h 89"/>
                <a:gd name="T14" fmla="*/ 0 w 79"/>
                <a:gd name="T15" fmla="*/ 0 h 89"/>
                <a:gd name="T16" fmla="*/ 66 w 79"/>
                <a:gd name="T17" fmla="*/ 6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89">
                  <a:moveTo>
                    <a:pt x="66" y="60"/>
                  </a:moveTo>
                  <a:lnTo>
                    <a:pt x="66" y="4"/>
                  </a:lnTo>
                  <a:lnTo>
                    <a:pt x="79" y="4"/>
                  </a:lnTo>
                  <a:lnTo>
                    <a:pt x="79" y="89"/>
                  </a:lnTo>
                  <a:lnTo>
                    <a:pt x="13" y="29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66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18" name="Freeform 24">
              <a:extLst>
                <a:ext uri="{FF2B5EF4-FFF2-40B4-BE49-F238E27FC236}">
                  <a16:creationId xmlns:a16="http://schemas.microsoft.com/office/drawing/2014/main" id="{D89864C0-0E50-4D05-92F2-9754BA59F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4544" y="6225994"/>
              <a:ext cx="83183" cy="112298"/>
            </a:xfrm>
            <a:custGeom>
              <a:avLst/>
              <a:gdLst>
                <a:gd name="T0" fmla="*/ 58 w 60"/>
                <a:gd name="T1" fmla="*/ 34 h 81"/>
                <a:gd name="T2" fmla="*/ 58 w 60"/>
                <a:gd name="T3" fmla="*/ 46 h 81"/>
                <a:gd name="T4" fmla="*/ 13 w 60"/>
                <a:gd name="T5" fmla="*/ 46 h 81"/>
                <a:gd name="T6" fmla="*/ 13 w 60"/>
                <a:gd name="T7" fmla="*/ 69 h 81"/>
                <a:gd name="T8" fmla="*/ 60 w 60"/>
                <a:gd name="T9" fmla="*/ 69 h 81"/>
                <a:gd name="T10" fmla="*/ 60 w 60"/>
                <a:gd name="T11" fmla="*/ 81 h 81"/>
                <a:gd name="T12" fmla="*/ 0 w 60"/>
                <a:gd name="T13" fmla="*/ 81 h 81"/>
                <a:gd name="T14" fmla="*/ 0 w 60"/>
                <a:gd name="T15" fmla="*/ 0 h 81"/>
                <a:gd name="T16" fmla="*/ 60 w 60"/>
                <a:gd name="T17" fmla="*/ 0 h 81"/>
                <a:gd name="T18" fmla="*/ 60 w 60"/>
                <a:gd name="T19" fmla="*/ 12 h 81"/>
                <a:gd name="T20" fmla="*/ 13 w 60"/>
                <a:gd name="T21" fmla="*/ 12 h 81"/>
                <a:gd name="T22" fmla="*/ 13 w 60"/>
                <a:gd name="T23" fmla="*/ 34 h 81"/>
                <a:gd name="T24" fmla="*/ 58 w 60"/>
                <a:gd name="T25" fmla="*/ 3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81">
                  <a:moveTo>
                    <a:pt x="58" y="34"/>
                  </a:moveTo>
                  <a:lnTo>
                    <a:pt x="58" y="46"/>
                  </a:lnTo>
                  <a:lnTo>
                    <a:pt x="13" y="46"/>
                  </a:lnTo>
                  <a:lnTo>
                    <a:pt x="13" y="69"/>
                  </a:lnTo>
                  <a:lnTo>
                    <a:pt x="60" y="69"/>
                  </a:lnTo>
                  <a:lnTo>
                    <a:pt x="60" y="81"/>
                  </a:lnTo>
                  <a:lnTo>
                    <a:pt x="0" y="81"/>
                  </a:lnTo>
                  <a:lnTo>
                    <a:pt x="0" y="0"/>
                  </a:lnTo>
                  <a:lnTo>
                    <a:pt x="60" y="0"/>
                  </a:lnTo>
                  <a:lnTo>
                    <a:pt x="60" y="12"/>
                  </a:lnTo>
                  <a:lnTo>
                    <a:pt x="13" y="12"/>
                  </a:lnTo>
                  <a:lnTo>
                    <a:pt x="13" y="34"/>
                  </a:lnTo>
                  <a:lnTo>
                    <a:pt x="5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19" name="Freeform 25">
              <a:extLst>
                <a:ext uri="{FF2B5EF4-FFF2-40B4-BE49-F238E27FC236}">
                  <a16:creationId xmlns:a16="http://schemas.microsoft.com/office/drawing/2014/main" id="{3B30E14E-4062-426E-8EE6-D7900EDE0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8523" y="6225994"/>
              <a:ext cx="112298" cy="112298"/>
            </a:xfrm>
            <a:custGeom>
              <a:avLst/>
              <a:gdLst>
                <a:gd name="T0" fmla="*/ 34 w 81"/>
                <a:gd name="T1" fmla="*/ 81 h 81"/>
                <a:gd name="T2" fmla="*/ 34 w 81"/>
                <a:gd name="T3" fmla="*/ 49 h 81"/>
                <a:gd name="T4" fmla="*/ 0 w 81"/>
                <a:gd name="T5" fmla="*/ 0 h 81"/>
                <a:gd name="T6" fmla="*/ 15 w 81"/>
                <a:gd name="T7" fmla="*/ 0 h 81"/>
                <a:gd name="T8" fmla="*/ 41 w 81"/>
                <a:gd name="T9" fmla="*/ 37 h 81"/>
                <a:gd name="T10" fmla="*/ 67 w 81"/>
                <a:gd name="T11" fmla="*/ 0 h 81"/>
                <a:gd name="T12" fmla="*/ 81 w 81"/>
                <a:gd name="T13" fmla="*/ 0 h 81"/>
                <a:gd name="T14" fmla="*/ 48 w 81"/>
                <a:gd name="T15" fmla="*/ 49 h 81"/>
                <a:gd name="T16" fmla="*/ 48 w 81"/>
                <a:gd name="T17" fmla="*/ 81 h 81"/>
                <a:gd name="T18" fmla="*/ 34 w 81"/>
                <a:gd name="T1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81">
                  <a:moveTo>
                    <a:pt x="34" y="81"/>
                  </a:moveTo>
                  <a:lnTo>
                    <a:pt x="34" y="49"/>
                  </a:lnTo>
                  <a:lnTo>
                    <a:pt x="0" y="0"/>
                  </a:lnTo>
                  <a:lnTo>
                    <a:pt x="15" y="0"/>
                  </a:lnTo>
                  <a:lnTo>
                    <a:pt x="41" y="37"/>
                  </a:lnTo>
                  <a:lnTo>
                    <a:pt x="67" y="0"/>
                  </a:lnTo>
                  <a:lnTo>
                    <a:pt x="81" y="0"/>
                  </a:lnTo>
                  <a:lnTo>
                    <a:pt x="48" y="49"/>
                  </a:lnTo>
                  <a:lnTo>
                    <a:pt x="48" y="81"/>
                  </a:lnTo>
                  <a:lnTo>
                    <a:pt x="34" y="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0" name="Freeform 26">
              <a:extLst>
                <a:ext uri="{FF2B5EF4-FFF2-40B4-BE49-F238E27FC236}">
                  <a16:creationId xmlns:a16="http://schemas.microsoft.com/office/drawing/2014/main" id="{465FFCAE-F514-4D29-8F58-53DF013552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0104" y="6393747"/>
              <a:ext cx="97047" cy="113684"/>
            </a:xfrm>
            <a:custGeom>
              <a:avLst/>
              <a:gdLst>
                <a:gd name="T0" fmla="*/ 132 w 132"/>
                <a:gd name="T1" fmla="*/ 110 h 155"/>
                <a:gd name="T2" fmla="*/ 83 w 132"/>
                <a:gd name="T3" fmla="*/ 155 h 155"/>
                <a:gd name="T4" fmla="*/ 0 w 132"/>
                <a:gd name="T5" fmla="*/ 155 h 155"/>
                <a:gd name="T6" fmla="*/ 0 w 132"/>
                <a:gd name="T7" fmla="*/ 0 h 155"/>
                <a:gd name="T8" fmla="*/ 81 w 132"/>
                <a:gd name="T9" fmla="*/ 0 h 155"/>
                <a:gd name="T10" fmla="*/ 126 w 132"/>
                <a:gd name="T11" fmla="*/ 41 h 155"/>
                <a:gd name="T12" fmla="*/ 107 w 132"/>
                <a:gd name="T13" fmla="*/ 73 h 155"/>
                <a:gd name="T14" fmla="*/ 132 w 132"/>
                <a:gd name="T15" fmla="*/ 110 h 155"/>
                <a:gd name="T16" fmla="*/ 76 w 132"/>
                <a:gd name="T17" fmla="*/ 65 h 155"/>
                <a:gd name="T18" fmla="*/ 101 w 132"/>
                <a:gd name="T19" fmla="*/ 44 h 155"/>
                <a:gd name="T20" fmla="*/ 76 w 132"/>
                <a:gd name="T21" fmla="*/ 23 h 155"/>
                <a:gd name="T22" fmla="*/ 26 w 132"/>
                <a:gd name="T23" fmla="*/ 23 h 155"/>
                <a:gd name="T24" fmla="*/ 26 w 132"/>
                <a:gd name="T25" fmla="*/ 65 h 155"/>
                <a:gd name="T26" fmla="*/ 76 w 132"/>
                <a:gd name="T27" fmla="*/ 65 h 155"/>
                <a:gd name="T28" fmla="*/ 79 w 132"/>
                <a:gd name="T29" fmla="*/ 133 h 155"/>
                <a:gd name="T30" fmla="*/ 106 w 132"/>
                <a:gd name="T31" fmla="*/ 110 h 155"/>
                <a:gd name="T32" fmla="*/ 79 w 132"/>
                <a:gd name="T33" fmla="*/ 86 h 155"/>
                <a:gd name="T34" fmla="*/ 26 w 132"/>
                <a:gd name="T35" fmla="*/ 86 h 155"/>
                <a:gd name="T36" fmla="*/ 26 w 132"/>
                <a:gd name="T37" fmla="*/ 133 h 155"/>
                <a:gd name="T38" fmla="*/ 79 w 132"/>
                <a:gd name="T39" fmla="*/ 13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2" h="155">
                  <a:moveTo>
                    <a:pt x="132" y="110"/>
                  </a:moveTo>
                  <a:cubicBezTo>
                    <a:pt x="132" y="135"/>
                    <a:pt x="112" y="155"/>
                    <a:pt x="83" y="155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108" y="0"/>
                    <a:pt x="126" y="18"/>
                    <a:pt x="126" y="41"/>
                  </a:cubicBezTo>
                  <a:cubicBezTo>
                    <a:pt x="126" y="56"/>
                    <a:pt x="119" y="67"/>
                    <a:pt x="107" y="73"/>
                  </a:cubicBezTo>
                  <a:cubicBezTo>
                    <a:pt x="122" y="78"/>
                    <a:pt x="132" y="91"/>
                    <a:pt x="132" y="110"/>
                  </a:cubicBezTo>
                  <a:moveTo>
                    <a:pt x="76" y="65"/>
                  </a:moveTo>
                  <a:cubicBezTo>
                    <a:pt x="91" y="65"/>
                    <a:pt x="101" y="56"/>
                    <a:pt x="101" y="44"/>
                  </a:cubicBezTo>
                  <a:cubicBezTo>
                    <a:pt x="101" y="32"/>
                    <a:pt x="91" y="23"/>
                    <a:pt x="76" y="23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6" y="65"/>
                    <a:pt x="26" y="65"/>
                    <a:pt x="26" y="65"/>
                  </a:cubicBezTo>
                  <a:lnTo>
                    <a:pt x="76" y="65"/>
                  </a:lnTo>
                  <a:close/>
                  <a:moveTo>
                    <a:pt x="79" y="133"/>
                  </a:moveTo>
                  <a:cubicBezTo>
                    <a:pt x="95" y="133"/>
                    <a:pt x="106" y="123"/>
                    <a:pt x="106" y="110"/>
                  </a:cubicBezTo>
                  <a:cubicBezTo>
                    <a:pt x="106" y="97"/>
                    <a:pt x="95" y="86"/>
                    <a:pt x="79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133"/>
                    <a:pt x="26" y="133"/>
                    <a:pt x="26" y="133"/>
                  </a:cubicBezTo>
                  <a:lnTo>
                    <a:pt x="79" y="1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1" name="Freeform 27">
              <a:extLst>
                <a:ext uri="{FF2B5EF4-FFF2-40B4-BE49-F238E27FC236}">
                  <a16:creationId xmlns:a16="http://schemas.microsoft.com/office/drawing/2014/main" id="{234A63F9-FAF0-4344-BEF3-0E79FECE44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2401" y="6389587"/>
              <a:ext cx="133093" cy="117843"/>
            </a:xfrm>
            <a:custGeom>
              <a:avLst/>
              <a:gdLst>
                <a:gd name="T0" fmla="*/ 15 w 96"/>
                <a:gd name="T1" fmla="*/ 85 h 85"/>
                <a:gd name="T2" fmla="*/ 0 w 96"/>
                <a:gd name="T3" fmla="*/ 85 h 85"/>
                <a:gd name="T4" fmla="*/ 48 w 96"/>
                <a:gd name="T5" fmla="*/ 0 h 85"/>
                <a:gd name="T6" fmla="*/ 96 w 96"/>
                <a:gd name="T7" fmla="*/ 85 h 85"/>
                <a:gd name="T8" fmla="*/ 81 w 96"/>
                <a:gd name="T9" fmla="*/ 85 h 85"/>
                <a:gd name="T10" fmla="*/ 70 w 96"/>
                <a:gd name="T11" fmla="*/ 66 h 85"/>
                <a:gd name="T12" fmla="*/ 26 w 96"/>
                <a:gd name="T13" fmla="*/ 66 h 85"/>
                <a:gd name="T14" fmla="*/ 15 w 96"/>
                <a:gd name="T15" fmla="*/ 85 h 85"/>
                <a:gd name="T16" fmla="*/ 32 w 96"/>
                <a:gd name="T17" fmla="*/ 55 h 85"/>
                <a:gd name="T18" fmla="*/ 64 w 96"/>
                <a:gd name="T19" fmla="*/ 55 h 85"/>
                <a:gd name="T20" fmla="*/ 48 w 96"/>
                <a:gd name="T21" fmla="*/ 26 h 85"/>
                <a:gd name="T22" fmla="*/ 32 w 96"/>
                <a:gd name="T23" fmla="*/ 5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85">
                  <a:moveTo>
                    <a:pt x="15" y="85"/>
                  </a:moveTo>
                  <a:lnTo>
                    <a:pt x="0" y="85"/>
                  </a:lnTo>
                  <a:lnTo>
                    <a:pt x="48" y="0"/>
                  </a:lnTo>
                  <a:lnTo>
                    <a:pt x="96" y="85"/>
                  </a:lnTo>
                  <a:lnTo>
                    <a:pt x="81" y="85"/>
                  </a:lnTo>
                  <a:lnTo>
                    <a:pt x="70" y="66"/>
                  </a:lnTo>
                  <a:lnTo>
                    <a:pt x="26" y="66"/>
                  </a:lnTo>
                  <a:lnTo>
                    <a:pt x="15" y="85"/>
                  </a:lnTo>
                  <a:close/>
                  <a:moveTo>
                    <a:pt x="32" y="55"/>
                  </a:moveTo>
                  <a:lnTo>
                    <a:pt x="64" y="55"/>
                  </a:lnTo>
                  <a:lnTo>
                    <a:pt x="48" y="26"/>
                  </a:lnTo>
                  <a:lnTo>
                    <a:pt x="32" y="5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2" name="Freeform 28">
              <a:extLst>
                <a:ext uri="{FF2B5EF4-FFF2-40B4-BE49-F238E27FC236}">
                  <a16:creationId xmlns:a16="http://schemas.microsoft.com/office/drawing/2014/main" id="{1A16B961-1245-4735-A971-6D809E187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222" y="6389587"/>
              <a:ext cx="109525" cy="122002"/>
            </a:xfrm>
            <a:custGeom>
              <a:avLst/>
              <a:gdLst>
                <a:gd name="T0" fmla="*/ 66 w 79"/>
                <a:gd name="T1" fmla="*/ 60 h 88"/>
                <a:gd name="T2" fmla="*/ 66 w 79"/>
                <a:gd name="T3" fmla="*/ 3 h 88"/>
                <a:gd name="T4" fmla="*/ 79 w 79"/>
                <a:gd name="T5" fmla="*/ 3 h 88"/>
                <a:gd name="T6" fmla="*/ 79 w 79"/>
                <a:gd name="T7" fmla="*/ 88 h 88"/>
                <a:gd name="T8" fmla="*/ 13 w 79"/>
                <a:gd name="T9" fmla="*/ 29 h 88"/>
                <a:gd name="T10" fmla="*/ 13 w 79"/>
                <a:gd name="T11" fmla="*/ 85 h 88"/>
                <a:gd name="T12" fmla="*/ 0 w 79"/>
                <a:gd name="T13" fmla="*/ 85 h 88"/>
                <a:gd name="T14" fmla="*/ 0 w 79"/>
                <a:gd name="T15" fmla="*/ 0 h 88"/>
                <a:gd name="T16" fmla="*/ 66 w 79"/>
                <a:gd name="T17" fmla="*/ 6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88">
                  <a:moveTo>
                    <a:pt x="66" y="60"/>
                  </a:moveTo>
                  <a:lnTo>
                    <a:pt x="66" y="3"/>
                  </a:lnTo>
                  <a:lnTo>
                    <a:pt x="79" y="3"/>
                  </a:lnTo>
                  <a:lnTo>
                    <a:pt x="79" y="88"/>
                  </a:lnTo>
                  <a:lnTo>
                    <a:pt x="13" y="29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66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3" name="Freeform 29">
              <a:extLst>
                <a:ext uri="{FF2B5EF4-FFF2-40B4-BE49-F238E27FC236}">
                  <a16:creationId xmlns:a16="http://schemas.microsoft.com/office/drawing/2014/main" id="{48B5A6F5-DA59-489A-A678-9CA029516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2952" y="6393747"/>
              <a:ext cx="105365" cy="113684"/>
            </a:xfrm>
            <a:custGeom>
              <a:avLst/>
              <a:gdLst>
                <a:gd name="T0" fmla="*/ 13 w 76"/>
                <a:gd name="T1" fmla="*/ 82 h 82"/>
                <a:gd name="T2" fmla="*/ 0 w 76"/>
                <a:gd name="T3" fmla="*/ 82 h 82"/>
                <a:gd name="T4" fmla="*/ 0 w 76"/>
                <a:gd name="T5" fmla="*/ 0 h 82"/>
                <a:gd name="T6" fmla="*/ 13 w 76"/>
                <a:gd name="T7" fmla="*/ 0 h 82"/>
                <a:gd name="T8" fmla="*/ 13 w 76"/>
                <a:gd name="T9" fmla="*/ 38 h 82"/>
                <a:gd name="T10" fmla="*/ 55 w 76"/>
                <a:gd name="T11" fmla="*/ 0 h 82"/>
                <a:gd name="T12" fmla="*/ 74 w 76"/>
                <a:gd name="T13" fmla="*/ 0 h 82"/>
                <a:gd name="T14" fmla="*/ 38 w 76"/>
                <a:gd name="T15" fmla="*/ 33 h 82"/>
                <a:gd name="T16" fmla="*/ 76 w 76"/>
                <a:gd name="T17" fmla="*/ 82 h 82"/>
                <a:gd name="T18" fmla="*/ 59 w 76"/>
                <a:gd name="T19" fmla="*/ 82 h 82"/>
                <a:gd name="T20" fmla="*/ 28 w 76"/>
                <a:gd name="T21" fmla="*/ 42 h 82"/>
                <a:gd name="T22" fmla="*/ 13 w 76"/>
                <a:gd name="T23" fmla="*/ 55 h 82"/>
                <a:gd name="T24" fmla="*/ 13 w 76"/>
                <a:gd name="T2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82">
                  <a:moveTo>
                    <a:pt x="13" y="82"/>
                  </a:moveTo>
                  <a:lnTo>
                    <a:pt x="0" y="82"/>
                  </a:lnTo>
                  <a:lnTo>
                    <a:pt x="0" y="0"/>
                  </a:lnTo>
                  <a:lnTo>
                    <a:pt x="13" y="0"/>
                  </a:lnTo>
                  <a:lnTo>
                    <a:pt x="13" y="38"/>
                  </a:lnTo>
                  <a:lnTo>
                    <a:pt x="55" y="0"/>
                  </a:lnTo>
                  <a:lnTo>
                    <a:pt x="74" y="0"/>
                  </a:lnTo>
                  <a:lnTo>
                    <a:pt x="38" y="33"/>
                  </a:lnTo>
                  <a:lnTo>
                    <a:pt x="76" y="82"/>
                  </a:lnTo>
                  <a:lnTo>
                    <a:pt x="59" y="82"/>
                  </a:lnTo>
                  <a:lnTo>
                    <a:pt x="28" y="42"/>
                  </a:lnTo>
                  <a:lnTo>
                    <a:pt x="13" y="55"/>
                  </a:lnTo>
                  <a:lnTo>
                    <a:pt x="13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4" name="Freeform 30">
              <a:extLst>
                <a:ext uri="{FF2B5EF4-FFF2-40B4-BE49-F238E27FC236}">
                  <a16:creationId xmlns:a16="http://schemas.microsoft.com/office/drawing/2014/main" id="{8646F4BC-7A6E-4B72-AFE0-038581C27D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9806" y="6109537"/>
              <a:ext cx="450576" cy="514350"/>
            </a:xfrm>
            <a:custGeom>
              <a:avLst/>
              <a:gdLst>
                <a:gd name="T0" fmla="*/ 162 w 325"/>
                <a:gd name="T1" fmla="*/ 156 h 371"/>
                <a:gd name="T2" fmla="*/ 0 w 325"/>
                <a:gd name="T3" fmla="*/ 0 h 371"/>
                <a:gd name="T4" fmla="*/ 0 w 325"/>
                <a:gd name="T5" fmla="*/ 371 h 371"/>
                <a:gd name="T6" fmla="*/ 162 w 325"/>
                <a:gd name="T7" fmla="*/ 215 h 371"/>
                <a:gd name="T8" fmla="*/ 162 w 325"/>
                <a:gd name="T9" fmla="*/ 215 h 371"/>
                <a:gd name="T10" fmla="*/ 192 w 325"/>
                <a:gd name="T11" fmla="*/ 185 h 371"/>
                <a:gd name="T12" fmla="*/ 192 w 325"/>
                <a:gd name="T13" fmla="*/ 185 h 371"/>
                <a:gd name="T14" fmla="*/ 283 w 325"/>
                <a:gd name="T15" fmla="*/ 97 h 371"/>
                <a:gd name="T16" fmla="*/ 283 w 325"/>
                <a:gd name="T17" fmla="*/ 273 h 371"/>
                <a:gd name="T18" fmla="*/ 222 w 325"/>
                <a:gd name="T19" fmla="*/ 214 h 371"/>
                <a:gd name="T20" fmla="*/ 192 w 325"/>
                <a:gd name="T21" fmla="*/ 243 h 371"/>
                <a:gd name="T22" fmla="*/ 325 w 325"/>
                <a:gd name="T23" fmla="*/ 371 h 371"/>
                <a:gd name="T24" fmla="*/ 325 w 325"/>
                <a:gd name="T25" fmla="*/ 0 h 371"/>
                <a:gd name="T26" fmla="*/ 162 w 325"/>
                <a:gd name="T27" fmla="*/ 156 h 371"/>
                <a:gd name="T28" fmla="*/ 42 w 325"/>
                <a:gd name="T29" fmla="*/ 273 h 371"/>
                <a:gd name="T30" fmla="*/ 42 w 325"/>
                <a:gd name="T31" fmla="*/ 97 h 371"/>
                <a:gd name="T32" fmla="*/ 133 w 325"/>
                <a:gd name="T33" fmla="*/ 185 h 371"/>
                <a:gd name="T34" fmla="*/ 42 w 325"/>
                <a:gd name="T35" fmla="*/ 273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5" h="371">
                  <a:moveTo>
                    <a:pt x="162" y="156"/>
                  </a:moveTo>
                  <a:lnTo>
                    <a:pt x="0" y="0"/>
                  </a:lnTo>
                  <a:lnTo>
                    <a:pt x="0" y="371"/>
                  </a:lnTo>
                  <a:lnTo>
                    <a:pt x="162" y="215"/>
                  </a:lnTo>
                  <a:lnTo>
                    <a:pt x="162" y="215"/>
                  </a:lnTo>
                  <a:lnTo>
                    <a:pt x="192" y="185"/>
                  </a:lnTo>
                  <a:lnTo>
                    <a:pt x="192" y="185"/>
                  </a:lnTo>
                  <a:lnTo>
                    <a:pt x="283" y="97"/>
                  </a:lnTo>
                  <a:lnTo>
                    <a:pt x="283" y="273"/>
                  </a:lnTo>
                  <a:lnTo>
                    <a:pt x="222" y="214"/>
                  </a:lnTo>
                  <a:lnTo>
                    <a:pt x="192" y="243"/>
                  </a:lnTo>
                  <a:lnTo>
                    <a:pt x="325" y="371"/>
                  </a:lnTo>
                  <a:lnTo>
                    <a:pt x="325" y="0"/>
                  </a:lnTo>
                  <a:lnTo>
                    <a:pt x="162" y="156"/>
                  </a:lnTo>
                  <a:close/>
                  <a:moveTo>
                    <a:pt x="42" y="273"/>
                  </a:moveTo>
                  <a:lnTo>
                    <a:pt x="42" y="97"/>
                  </a:lnTo>
                  <a:lnTo>
                    <a:pt x="133" y="185"/>
                  </a:lnTo>
                  <a:lnTo>
                    <a:pt x="42" y="2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5" name="Freeform 32">
              <a:extLst>
                <a:ext uri="{FF2B5EF4-FFF2-40B4-BE49-F238E27FC236}">
                  <a16:creationId xmlns:a16="http://schemas.microsoft.com/office/drawing/2014/main" id="{3071D542-4033-474C-BC33-F17F97C0E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249" y="6214902"/>
              <a:ext cx="320256" cy="303619"/>
            </a:xfrm>
            <a:custGeom>
              <a:avLst/>
              <a:gdLst>
                <a:gd name="T0" fmla="*/ 231 w 231"/>
                <a:gd name="T1" fmla="*/ 0 h 219"/>
                <a:gd name="T2" fmla="*/ 231 w 231"/>
                <a:gd name="T3" fmla="*/ 210 h 219"/>
                <a:gd name="T4" fmla="*/ 190 w 231"/>
                <a:gd name="T5" fmla="*/ 210 h 219"/>
                <a:gd name="T6" fmla="*/ 190 w 231"/>
                <a:gd name="T7" fmla="*/ 118 h 219"/>
                <a:gd name="T8" fmla="*/ 116 w 231"/>
                <a:gd name="T9" fmla="*/ 219 h 219"/>
                <a:gd name="T10" fmla="*/ 41 w 231"/>
                <a:gd name="T11" fmla="*/ 118 h 219"/>
                <a:gd name="T12" fmla="*/ 41 w 231"/>
                <a:gd name="T13" fmla="*/ 210 h 219"/>
                <a:gd name="T14" fmla="*/ 0 w 231"/>
                <a:gd name="T15" fmla="*/ 210 h 219"/>
                <a:gd name="T16" fmla="*/ 0 w 231"/>
                <a:gd name="T17" fmla="*/ 0 h 219"/>
                <a:gd name="T18" fmla="*/ 116 w 231"/>
                <a:gd name="T19" fmla="*/ 153 h 219"/>
                <a:gd name="T20" fmla="*/ 231 w 231"/>
                <a:gd name="T2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1" h="219">
                  <a:moveTo>
                    <a:pt x="231" y="0"/>
                  </a:moveTo>
                  <a:lnTo>
                    <a:pt x="231" y="210"/>
                  </a:lnTo>
                  <a:lnTo>
                    <a:pt x="190" y="210"/>
                  </a:lnTo>
                  <a:lnTo>
                    <a:pt x="190" y="118"/>
                  </a:lnTo>
                  <a:lnTo>
                    <a:pt x="116" y="219"/>
                  </a:lnTo>
                  <a:lnTo>
                    <a:pt x="41" y="118"/>
                  </a:lnTo>
                  <a:lnTo>
                    <a:pt x="41" y="210"/>
                  </a:lnTo>
                  <a:lnTo>
                    <a:pt x="0" y="210"/>
                  </a:lnTo>
                  <a:lnTo>
                    <a:pt x="0" y="0"/>
                  </a:lnTo>
                  <a:lnTo>
                    <a:pt x="116" y="153"/>
                  </a:lnTo>
                  <a:lnTo>
                    <a:pt x="23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6" name="Freeform 33">
              <a:extLst>
                <a:ext uri="{FF2B5EF4-FFF2-40B4-BE49-F238E27FC236}">
                  <a16:creationId xmlns:a16="http://schemas.microsoft.com/office/drawing/2014/main" id="{CA6D9F5C-D862-4DAD-8A59-F02EED0C41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3256" y="6219061"/>
              <a:ext cx="300847" cy="293914"/>
            </a:xfrm>
            <a:custGeom>
              <a:avLst/>
              <a:gdLst>
                <a:gd name="T0" fmla="*/ 327 w 409"/>
                <a:gd name="T1" fmla="*/ 200 h 401"/>
                <a:gd name="T2" fmla="*/ 204 w 409"/>
                <a:gd name="T3" fmla="*/ 77 h 401"/>
                <a:gd name="T4" fmla="*/ 82 w 409"/>
                <a:gd name="T5" fmla="*/ 200 h 401"/>
                <a:gd name="T6" fmla="*/ 204 w 409"/>
                <a:gd name="T7" fmla="*/ 324 h 401"/>
                <a:gd name="T8" fmla="*/ 327 w 409"/>
                <a:gd name="T9" fmla="*/ 200 h 401"/>
                <a:gd name="T10" fmla="*/ 409 w 409"/>
                <a:gd name="T11" fmla="*/ 200 h 401"/>
                <a:gd name="T12" fmla="*/ 204 w 409"/>
                <a:gd name="T13" fmla="*/ 401 h 401"/>
                <a:gd name="T14" fmla="*/ 0 w 409"/>
                <a:gd name="T15" fmla="*/ 200 h 401"/>
                <a:gd name="T16" fmla="*/ 204 w 409"/>
                <a:gd name="T17" fmla="*/ 0 h 401"/>
                <a:gd name="T18" fmla="*/ 409 w 409"/>
                <a:gd name="T19" fmla="*/ 20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9" h="401">
                  <a:moveTo>
                    <a:pt x="327" y="200"/>
                  </a:moveTo>
                  <a:cubicBezTo>
                    <a:pt x="327" y="132"/>
                    <a:pt x="272" y="77"/>
                    <a:pt x="204" y="77"/>
                  </a:cubicBezTo>
                  <a:cubicBezTo>
                    <a:pt x="137" y="77"/>
                    <a:pt x="82" y="132"/>
                    <a:pt x="82" y="200"/>
                  </a:cubicBezTo>
                  <a:cubicBezTo>
                    <a:pt x="82" y="268"/>
                    <a:pt x="137" y="324"/>
                    <a:pt x="204" y="324"/>
                  </a:cubicBezTo>
                  <a:cubicBezTo>
                    <a:pt x="272" y="324"/>
                    <a:pt x="327" y="268"/>
                    <a:pt x="327" y="200"/>
                  </a:cubicBezTo>
                  <a:moveTo>
                    <a:pt x="409" y="200"/>
                  </a:moveTo>
                  <a:cubicBezTo>
                    <a:pt x="409" y="311"/>
                    <a:pt x="317" y="401"/>
                    <a:pt x="204" y="401"/>
                  </a:cubicBezTo>
                  <a:cubicBezTo>
                    <a:pt x="92" y="401"/>
                    <a:pt x="0" y="311"/>
                    <a:pt x="0" y="200"/>
                  </a:cubicBezTo>
                  <a:cubicBezTo>
                    <a:pt x="0" y="89"/>
                    <a:pt x="92" y="0"/>
                    <a:pt x="204" y="0"/>
                  </a:cubicBezTo>
                  <a:cubicBezTo>
                    <a:pt x="317" y="0"/>
                    <a:pt x="409" y="89"/>
                    <a:pt x="409" y="20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7" name="Freeform 34">
              <a:extLst>
                <a:ext uri="{FF2B5EF4-FFF2-40B4-BE49-F238E27FC236}">
                  <a16:creationId xmlns:a16="http://schemas.microsoft.com/office/drawing/2014/main" id="{5913D906-B6AF-4C49-9F2F-932282C5D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534" y="6214902"/>
              <a:ext cx="278664" cy="303619"/>
            </a:xfrm>
            <a:custGeom>
              <a:avLst/>
              <a:gdLst>
                <a:gd name="T0" fmla="*/ 160 w 201"/>
                <a:gd name="T1" fmla="*/ 133 h 219"/>
                <a:gd name="T2" fmla="*/ 160 w 201"/>
                <a:gd name="T3" fmla="*/ 8 h 219"/>
                <a:gd name="T4" fmla="*/ 201 w 201"/>
                <a:gd name="T5" fmla="*/ 8 h 219"/>
                <a:gd name="T6" fmla="*/ 201 w 201"/>
                <a:gd name="T7" fmla="*/ 219 h 219"/>
                <a:gd name="T8" fmla="*/ 41 w 201"/>
                <a:gd name="T9" fmla="*/ 85 h 219"/>
                <a:gd name="T10" fmla="*/ 41 w 201"/>
                <a:gd name="T11" fmla="*/ 210 h 219"/>
                <a:gd name="T12" fmla="*/ 0 w 201"/>
                <a:gd name="T13" fmla="*/ 210 h 219"/>
                <a:gd name="T14" fmla="*/ 0 w 201"/>
                <a:gd name="T15" fmla="*/ 0 h 219"/>
                <a:gd name="T16" fmla="*/ 160 w 201"/>
                <a:gd name="T17" fmla="*/ 133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1" h="219">
                  <a:moveTo>
                    <a:pt x="160" y="133"/>
                  </a:moveTo>
                  <a:lnTo>
                    <a:pt x="160" y="8"/>
                  </a:lnTo>
                  <a:lnTo>
                    <a:pt x="201" y="8"/>
                  </a:lnTo>
                  <a:lnTo>
                    <a:pt x="201" y="219"/>
                  </a:lnTo>
                  <a:lnTo>
                    <a:pt x="41" y="85"/>
                  </a:lnTo>
                  <a:lnTo>
                    <a:pt x="41" y="210"/>
                  </a:lnTo>
                  <a:lnTo>
                    <a:pt x="0" y="210"/>
                  </a:lnTo>
                  <a:lnTo>
                    <a:pt x="0" y="0"/>
                  </a:lnTo>
                  <a:lnTo>
                    <a:pt x="160" y="1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8" name="Freeform 35">
              <a:extLst>
                <a:ext uri="{FF2B5EF4-FFF2-40B4-BE49-F238E27FC236}">
                  <a16:creationId xmlns:a16="http://schemas.microsoft.com/office/drawing/2014/main" id="{58D1A53E-1279-48C8-85D5-F335CAAD8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7040" y="6225994"/>
              <a:ext cx="216276" cy="280050"/>
            </a:xfrm>
            <a:custGeom>
              <a:avLst/>
              <a:gdLst>
                <a:gd name="T0" fmla="*/ 152 w 156"/>
                <a:gd name="T1" fmla="*/ 83 h 202"/>
                <a:gd name="T2" fmla="*/ 152 w 156"/>
                <a:gd name="T3" fmla="*/ 119 h 202"/>
                <a:gd name="T4" fmla="*/ 43 w 156"/>
                <a:gd name="T5" fmla="*/ 119 h 202"/>
                <a:gd name="T6" fmla="*/ 43 w 156"/>
                <a:gd name="T7" fmla="*/ 165 h 202"/>
                <a:gd name="T8" fmla="*/ 156 w 156"/>
                <a:gd name="T9" fmla="*/ 165 h 202"/>
                <a:gd name="T10" fmla="*/ 156 w 156"/>
                <a:gd name="T11" fmla="*/ 202 h 202"/>
                <a:gd name="T12" fmla="*/ 0 w 156"/>
                <a:gd name="T13" fmla="*/ 202 h 202"/>
                <a:gd name="T14" fmla="*/ 0 w 156"/>
                <a:gd name="T15" fmla="*/ 0 h 202"/>
                <a:gd name="T16" fmla="*/ 156 w 156"/>
                <a:gd name="T17" fmla="*/ 0 h 202"/>
                <a:gd name="T18" fmla="*/ 156 w 156"/>
                <a:gd name="T19" fmla="*/ 38 h 202"/>
                <a:gd name="T20" fmla="*/ 43 w 156"/>
                <a:gd name="T21" fmla="*/ 38 h 202"/>
                <a:gd name="T22" fmla="*/ 43 w 156"/>
                <a:gd name="T23" fmla="*/ 83 h 202"/>
                <a:gd name="T24" fmla="*/ 152 w 156"/>
                <a:gd name="T25" fmla="*/ 83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6" h="202">
                  <a:moveTo>
                    <a:pt x="152" y="83"/>
                  </a:moveTo>
                  <a:lnTo>
                    <a:pt x="152" y="119"/>
                  </a:lnTo>
                  <a:lnTo>
                    <a:pt x="43" y="119"/>
                  </a:lnTo>
                  <a:lnTo>
                    <a:pt x="43" y="165"/>
                  </a:lnTo>
                  <a:lnTo>
                    <a:pt x="156" y="165"/>
                  </a:lnTo>
                  <a:lnTo>
                    <a:pt x="156" y="202"/>
                  </a:lnTo>
                  <a:lnTo>
                    <a:pt x="0" y="202"/>
                  </a:lnTo>
                  <a:lnTo>
                    <a:pt x="0" y="0"/>
                  </a:lnTo>
                  <a:lnTo>
                    <a:pt x="156" y="0"/>
                  </a:lnTo>
                  <a:lnTo>
                    <a:pt x="156" y="38"/>
                  </a:lnTo>
                  <a:lnTo>
                    <a:pt x="43" y="38"/>
                  </a:lnTo>
                  <a:lnTo>
                    <a:pt x="43" y="83"/>
                  </a:lnTo>
                  <a:lnTo>
                    <a:pt x="152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29" name="Freeform 36">
              <a:extLst>
                <a:ext uri="{FF2B5EF4-FFF2-40B4-BE49-F238E27FC236}">
                  <a16:creationId xmlns:a16="http://schemas.microsoft.com/office/drawing/2014/main" id="{CA4B84BC-C9B4-4647-9741-0CE1A7CD1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6590" y="6225994"/>
              <a:ext cx="281437" cy="280050"/>
            </a:xfrm>
            <a:custGeom>
              <a:avLst/>
              <a:gdLst>
                <a:gd name="T0" fmla="*/ 103 w 203"/>
                <a:gd name="T1" fmla="*/ 38 h 202"/>
                <a:gd name="T2" fmla="*/ 103 w 203"/>
                <a:gd name="T3" fmla="*/ 202 h 202"/>
                <a:gd name="T4" fmla="*/ 61 w 203"/>
                <a:gd name="T5" fmla="*/ 202 h 202"/>
                <a:gd name="T6" fmla="*/ 61 w 203"/>
                <a:gd name="T7" fmla="*/ 38 h 202"/>
                <a:gd name="T8" fmla="*/ 0 w 203"/>
                <a:gd name="T9" fmla="*/ 38 h 202"/>
                <a:gd name="T10" fmla="*/ 0 w 203"/>
                <a:gd name="T11" fmla="*/ 0 h 202"/>
                <a:gd name="T12" fmla="*/ 203 w 203"/>
                <a:gd name="T13" fmla="*/ 0 h 202"/>
                <a:gd name="T14" fmla="*/ 181 w 203"/>
                <a:gd name="T15" fmla="*/ 38 h 202"/>
                <a:gd name="T16" fmla="*/ 103 w 203"/>
                <a:gd name="T17" fmla="*/ 38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202">
                  <a:moveTo>
                    <a:pt x="103" y="38"/>
                  </a:moveTo>
                  <a:lnTo>
                    <a:pt x="103" y="202"/>
                  </a:lnTo>
                  <a:lnTo>
                    <a:pt x="61" y="202"/>
                  </a:lnTo>
                  <a:lnTo>
                    <a:pt x="61" y="38"/>
                  </a:lnTo>
                  <a:lnTo>
                    <a:pt x="0" y="38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181" y="38"/>
                  </a:lnTo>
                  <a:lnTo>
                    <a:pt x="103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30" name="Freeform 37">
              <a:extLst>
                <a:ext uri="{FF2B5EF4-FFF2-40B4-BE49-F238E27FC236}">
                  <a16:creationId xmlns:a16="http://schemas.microsoft.com/office/drawing/2014/main" id="{62C16CA6-ACEC-4EA9-B50C-D1DE6F6021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6820" y="6214902"/>
              <a:ext cx="335506" cy="291141"/>
            </a:xfrm>
            <a:custGeom>
              <a:avLst/>
              <a:gdLst>
                <a:gd name="T0" fmla="*/ 88 w 242"/>
                <a:gd name="T1" fmla="*/ 139 h 210"/>
                <a:gd name="T2" fmla="*/ 154 w 242"/>
                <a:gd name="T3" fmla="*/ 139 h 210"/>
                <a:gd name="T4" fmla="*/ 121 w 242"/>
                <a:gd name="T5" fmla="*/ 79 h 210"/>
                <a:gd name="T6" fmla="*/ 88 w 242"/>
                <a:gd name="T7" fmla="*/ 139 h 210"/>
                <a:gd name="T8" fmla="*/ 47 w 242"/>
                <a:gd name="T9" fmla="*/ 210 h 210"/>
                <a:gd name="T10" fmla="*/ 0 w 242"/>
                <a:gd name="T11" fmla="*/ 210 h 210"/>
                <a:gd name="T12" fmla="*/ 121 w 242"/>
                <a:gd name="T13" fmla="*/ 0 h 210"/>
                <a:gd name="T14" fmla="*/ 242 w 242"/>
                <a:gd name="T15" fmla="*/ 210 h 210"/>
                <a:gd name="T16" fmla="*/ 195 w 242"/>
                <a:gd name="T17" fmla="*/ 210 h 210"/>
                <a:gd name="T18" fmla="*/ 174 w 242"/>
                <a:gd name="T19" fmla="*/ 172 h 210"/>
                <a:gd name="T20" fmla="*/ 69 w 242"/>
                <a:gd name="T21" fmla="*/ 172 h 210"/>
                <a:gd name="T22" fmla="*/ 47 w 242"/>
                <a:gd name="T2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10">
                  <a:moveTo>
                    <a:pt x="88" y="139"/>
                  </a:moveTo>
                  <a:lnTo>
                    <a:pt x="154" y="139"/>
                  </a:lnTo>
                  <a:lnTo>
                    <a:pt x="121" y="79"/>
                  </a:lnTo>
                  <a:lnTo>
                    <a:pt x="88" y="139"/>
                  </a:lnTo>
                  <a:close/>
                  <a:moveTo>
                    <a:pt x="47" y="210"/>
                  </a:moveTo>
                  <a:lnTo>
                    <a:pt x="0" y="210"/>
                  </a:lnTo>
                  <a:lnTo>
                    <a:pt x="121" y="0"/>
                  </a:lnTo>
                  <a:lnTo>
                    <a:pt x="242" y="210"/>
                  </a:lnTo>
                  <a:lnTo>
                    <a:pt x="195" y="210"/>
                  </a:lnTo>
                  <a:lnTo>
                    <a:pt x="174" y="172"/>
                  </a:lnTo>
                  <a:lnTo>
                    <a:pt x="69" y="172"/>
                  </a:lnTo>
                  <a:lnTo>
                    <a:pt x="47" y="2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31" name="Rectangle 38">
              <a:extLst>
                <a:ext uri="{FF2B5EF4-FFF2-40B4-BE49-F238E27FC236}">
                  <a16:creationId xmlns:a16="http://schemas.microsoft.com/office/drawing/2014/main" id="{9F4D9A9A-47CF-4923-A504-29B2838163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192" y="6112310"/>
              <a:ext cx="13864" cy="50741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  <p:sp>
          <p:nvSpPr>
            <p:cNvPr id="32" name="Rectangle 39">
              <a:extLst>
                <a:ext uri="{FF2B5EF4-FFF2-40B4-BE49-F238E27FC236}">
                  <a16:creationId xmlns:a16="http://schemas.microsoft.com/office/drawing/2014/main" id="{7D171080-ACEC-4A89-B3BC-A8F78A0FA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192" y="6112310"/>
              <a:ext cx="13864" cy="50741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/>
            </a:p>
          </p:txBody>
        </p:sp>
      </p:grpSp>
      <p:sp>
        <p:nvSpPr>
          <p:cNvPr id="33" name="Volný tvar: obrazec 32">
            <a:extLst>
              <a:ext uri="{FF2B5EF4-FFF2-40B4-BE49-F238E27FC236}">
                <a16:creationId xmlns:a16="http://schemas.microsoft.com/office/drawing/2014/main" id="{7AC3F859-77EF-4530-948E-AD190EC195D1}"/>
              </a:ext>
            </a:extLst>
          </p:cNvPr>
          <p:cNvSpPr/>
          <p:nvPr userDrawn="1"/>
        </p:nvSpPr>
        <p:spPr>
          <a:xfrm rot="436790">
            <a:off x="-10478" y="84652"/>
            <a:ext cx="4913100" cy="6640209"/>
          </a:xfrm>
          <a:custGeom>
            <a:avLst/>
            <a:gdLst>
              <a:gd name="connsiteX0" fmla="*/ 3684825 w 3684825"/>
              <a:gd name="connsiteY0" fmla="*/ 0 h 6640209"/>
              <a:gd name="connsiteX1" fmla="*/ 3684825 w 3684825"/>
              <a:gd name="connsiteY1" fmla="*/ 6589390 h 6640209"/>
              <a:gd name="connsiteX2" fmla="*/ 3287008 w 3684825"/>
              <a:gd name="connsiteY2" fmla="*/ 6640209 h 6640209"/>
              <a:gd name="connsiteX3" fmla="*/ 1167166 w 3684825"/>
              <a:gd name="connsiteY3" fmla="*/ 4600078 h 6640209"/>
              <a:gd name="connsiteX4" fmla="*/ 1735030 w 3684825"/>
              <a:gd name="connsiteY4" fmla="*/ 4051118 h 6640209"/>
              <a:gd name="connsiteX5" fmla="*/ 2889663 w 3684825"/>
              <a:gd name="connsiteY5" fmla="*/ 5167941 h 6640209"/>
              <a:gd name="connsiteX6" fmla="*/ 2889662 w 3684825"/>
              <a:gd name="connsiteY6" fmla="*/ 1836370 h 6640209"/>
              <a:gd name="connsiteX7" fmla="*/ 1167167 w 3684825"/>
              <a:gd name="connsiteY7" fmla="*/ 3502157 h 6640209"/>
              <a:gd name="connsiteX8" fmla="*/ 599301 w 3684825"/>
              <a:gd name="connsiteY8" fmla="*/ 4070020 h 6640209"/>
              <a:gd name="connsiteX9" fmla="*/ 127244 w 3684825"/>
              <a:gd name="connsiteY9" fmla="*/ 4524617 h 6640209"/>
              <a:gd name="connsiteX10" fmla="*/ 0 w 3684825"/>
              <a:gd name="connsiteY10" fmla="*/ 3528538 h 6640209"/>
              <a:gd name="connsiteX11" fmla="*/ 598700 w 3684825"/>
              <a:gd name="connsiteY11" fmla="*/ 2952464 h 6640209"/>
              <a:gd name="connsiteX12" fmla="*/ 599303 w 3684825"/>
              <a:gd name="connsiteY12" fmla="*/ 2953044 h 6640209"/>
              <a:gd name="connsiteX13" fmla="*/ 599756 w 3684825"/>
              <a:gd name="connsiteY13" fmla="*/ 2953044 h 6640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684825" h="6640209">
                <a:moveTo>
                  <a:pt x="3684825" y="0"/>
                </a:moveTo>
                <a:lnTo>
                  <a:pt x="3684825" y="6589390"/>
                </a:lnTo>
                <a:lnTo>
                  <a:pt x="3287008" y="6640209"/>
                </a:lnTo>
                <a:lnTo>
                  <a:pt x="1167166" y="4600078"/>
                </a:lnTo>
                <a:lnTo>
                  <a:pt x="1735030" y="4051118"/>
                </a:lnTo>
                <a:lnTo>
                  <a:pt x="2889663" y="5167941"/>
                </a:lnTo>
                <a:lnTo>
                  <a:pt x="2889662" y="1836370"/>
                </a:lnTo>
                <a:lnTo>
                  <a:pt x="1167167" y="3502157"/>
                </a:lnTo>
                <a:lnTo>
                  <a:pt x="599301" y="4070020"/>
                </a:lnTo>
                <a:lnTo>
                  <a:pt x="127244" y="4524617"/>
                </a:lnTo>
                <a:lnTo>
                  <a:pt x="0" y="3528538"/>
                </a:lnTo>
                <a:lnTo>
                  <a:pt x="598700" y="2952464"/>
                </a:lnTo>
                <a:lnTo>
                  <a:pt x="599303" y="2953044"/>
                </a:lnTo>
                <a:lnTo>
                  <a:pt x="599756" y="2953044"/>
                </a:lnTo>
                <a:close/>
              </a:path>
            </a:pathLst>
          </a:custGeom>
          <a:solidFill>
            <a:srgbClr val="CECB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800">
              <a:solidFill>
                <a:schemeClr val="lt1"/>
              </a:solidFill>
            </a:endParaRPr>
          </a:p>
        </p:txBody>
      </p:sp>
      <p:sp>
        <p:nvSpPr>
          <p:cNvPr id="34" name="Volný tvar: obrazec 33">
            <a:extLst>
              <a:ext uri="{FF2B5EF4-FFF2-40B4-BE49-F238E27FC236}">
                <a16:creationId xmlns:a16="http://schemas.microsoft.com/office/drawing/2014/main" id="{0F440954-05E7-498E-A593-6CF0B1742302}"/>
              </a:ext>
            </a:extLst>
          </p:cNvPr>
          <p:cNvSpPr/>
          <p:nvPr userDrawn="1"/>
        </p:nvSpPr>
        <p:spPr>
          <a:xfrm rot="796790">
            <a:off x="-59329" y="145246"/>
            <a:ext cx="4653165" cy="6538221"/>
          </a:xfrm>
          <a:custGeom>
            <a:avLst/>
            <a:gdLst>
              <a:gd name="connsiteX0" fmla="*/ 3489874 w 3489874"/>
              <a:gd name="connsiteY0" fmla="*/ 0 h 6538221"/>
              <a:gd name="connsiteX1" fmla="*/ 3489874 w 3489874"/>
              <a:gd name="connsiteY1" fmla="*/ 6419317 h 6538221"/>
              <a:gd name="connsiteX2" fmla="*/ 2986084 w 3489874"/>
              <a:gd name="connsiteY2" fmla="*/ 6538221 h 6538221"/>
              <a:gd name="connsiteX3" fmla="*/ 972215 w 3489874"/>
              <a:gd name="connsiteY3" fmla="*/ 4600078 h 6538221"/>
              <a:gd name="connsiteX4" fmla="*/ 1540079 w 3489874"/>
              <a:gd name="connsiteY4" fmla="*/ 4051118 h 6538221"/>
              <a:gd name="connsiteX5" fmla="*/ 2694712 w 3489874"/>
              <a:gd name="connsiteY5" fmla="*/ 5167942 h 6538221"/>
              <a:gd name="connsiteX6" fmla="*/ 2694712 w 3489874"/>
              <a:gd name="connsiteY6" fmla="*/ 1836370 h 6538221"/>
              <a:gd name="connsiteX7" fmla="*/ 972216 w 3489874"/>
              <a:gd name="connsiteY7" fmla="*/ 3502157 h 6538221"/>
              <a:gd name="connsiteX8" fmla="*/ 404350 w 3489874"/>
              <a:gd name="connsiteY8" fmla="*/ 4070020 h 6538221"/>
              <a:gd name="connsiteX9" fmla="*/ 215089 w 3489874"/>
              <a:gd name="connsiteY9" fmla="*/ 4252281 h 6538221"/>
              <a:gd name="connsiteX10" fmla="*/ 0 w 3489874"/>
              <a:gd name="connsiteY10" fmla="*/ 3340955 h 6538221"/>
              <a:gd name="connsiteX11" fmla="*/ 403749 w 3489874"/>
              <a:gd name="connsiteY11" fmla="*/ 2952463 h 6538221"/>
              <a:gd name="connsiteX12" fmla="*/ 404352 w 3489874"/>
              <a:gd name="connsiteY12" fmla="*/ 2953044 h 6538221"/>
              <a:gd name="connsiteX13" fmla="*/ 404805 w 3489874"/>
              <a:gd name="connsiteY13" fmla="*/ 2953044 h 6538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489874" h="6538221">
                <a:moveTo>
                  <a:pt x="3489874" y="0"/>
                </a:moveTo>
                <a:lnTo>
                  <a:pt x="3489874" y="6419317"/>
                </a:lnTo>
                <a:lnTo>
                  <a:pt x="2986084" y="6538221"/>
                </a:lnTo>
                <a:lnTo>
                  <a:pt x="972215" y="4600078"/>
                </a:lnTo>
                <a:lnTo>
                  <a:pt x="1540079" y="4051118"/>
                </a:lnTo>
                <a:lnTo>
                  <a:pt x="2694712" y="5167942"/>
                </a:lnTo>
                <a:lnTo>
                  <a:pt x="2694712" y="1836370"/>
                </a:lnTo>
                <a:lnTo>
                  <a:pt x="972216" y="3502157"/>
                </a:lnTo>
                <a:lnTo>
                  <a:pt x="404350" y="4070020"/>
                </a:lnTo>
                <a:lnTo>
                  <a:pt x="215089" y="4252281"/>
                </a:lnTo>
                <a:lnTo>
                  <a:pt x="0" y="3340955"/>
                </a:lnTo>
                <a:lnTo>
                  <a:pt x="403749" y="2952463"/>
                </a:lnTo>
                <a:lnTo>
                  <a:pt x="404352" y="2953044"/>
                </a:lnTo>
                <a:lnTo>
                  <a:pt x="404805" y="2953044"/>
                </a:lnTo>
                <a:close/>
              </a:path>
            </a:pathLst>
          </a:custGeom>
          <a:solidFill>
            <a:schemeClr val="accent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800">
              <a:solidFill>
                <a:schemeClr val="lt1"/>
              </a:solidFill>
            </a:endParaRPr>
          </a:p>
        </p:txBody>
      </p:sp>
      <p:sp>
        <p:nvSpPr>
          <p:cNvPr id="35" name="Volný tvar: obrazec 34">
            <a:extLst>
              <a:ext uri="{FF2B5EF4-FFF2-40B4-BE49-F238E27FC236}">
                <a16:creationId xmlns:a16="http://schemas.microsoft.com/office/drawing/2014/main" id="{AA8DE5D9-74E8-4A37-99C7-F744CC2C79C6}"/>
              </a:ext>
            </a:extLst>
          </p:cNvPr>
          <p:cNvSpPr/>
          <p:nvPr userDrawn="1"/>
        </p:nvSpPr>
        <p:spPr>
          <a:xfrm rot="1216790">
            <a:off x="-192045" y="381256"/>
            <a:ext cx="4320584" cy="6370717"/>
          </a:xfrm>
          <a:custGeom>
            <a:avLst/>
            <a:gdLst>
              <a:gd name="connsiteX0" fmla="*/ 3240438 w 3240438"/>
              <a:gd name="connsiteY0" fmla="*/ 0 h 6370717"/>
              <a:gd name="connsiteX1" fmla="*/ 3240438 w 3240438"/>
              <a:gd name="connsiteY1" fmla="*/ 6120249 h 6370717"/>
              <a:gd name="connsiteX2" fmla="*/ 2562600 w 3240438"/>
              <a:gd name="connsiteY2" fmla="*/ 6370717 h 6370717"/>
              <a:gd name="connsiteX3" fmla="*/ 722779 w 3240438"/>
              <a:gd name="connsiteY3" fmla="*/ 4600078 h 6370717"/>
              <a:gd name="connsiteX4" fmla="*/ 1290643 w 3240438"/>
              <a:gd name="connsiteY4" fmla="*/ 4051118 h 6370717"/>
              <a:gd name="connsiteX5" fmla="*/ 2445275 w 3240438"/>
              <a:gd name="connsiteY5" fmla="*/ 5167941 h 6370717"/>
              <a:gd name="connsiteX6" fmla="*/ 2445275 w 3240438"/>
              <a:gd name="connsiteY6" fmla="*/ 1836370 h 6370717"/>
              <a:gd name="connsiteX7" fmla="*/ 722779 w 3240438"/>
              <a:gd name="connsiteY7" fmla="*/ 3502156 h 6370717"/>
              <a:gd name="connsiteX8" fmla="*/ 303267 w 3240438"/>
              <a:gd name="connsiteY8" fmla="*/ 3921668 h 6370717"/>
              <a:gd name="connsiteX9" fmla="*/ 0 w 3240438"/>
              <a:gd name="connsiteY9" fmla="*/ 3100945 h 6370717"/>
              <a:gd name="connsiteX10" fmla="*/ 154313 w 3240438"/>
              <a:gd name="connsiteY10" fmla="*/ 2952463 h 6370717"/>
              <a:gd name="connsiteX11" fmla="*/ 154916 w 3240438"/>
              <a:gd name="connsiteY11" fmla="*/ 2953044 h 6370717"/>
              <a:gd name="connsiteX12" fmla="*/ 155369 w 3240438"/>
              <a:gd name="connsiteY12" fmla="*/ 2953044 h 6370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40438" h="6370717">
                <a:moveTo>
                  <a:pt x="3240438" y="0"/>
                </a:moveTo>
                <a:lnTo>
                  <a:pt x="3240438" y="6120249"/>
                </a:lnTo>
                <a:lnTo>
                  <a:pt x="2562600" y="6370717"/>
                </a:lnTo>
                <a:lnTo>
                  <a:pt x="722779" y="4600078"/>
                </a:lnTo>
                <a:lnTo>
                  <a:pt x="1290643" y="4051118"/>
                </a:lnTo>
                <a:lnTo>
                  <a:pt x="2445275" y="5167941"/>
                </a:lnTo>
                <a:lnTo>
                  <a:pt x="2445275" y="1836370"/>
                </a:lnTo>
                <a:lnTo>
                  <a:pt x="722779" y="3502156"/>
                </a:lnTo>
                <a:lnTo>
                  <a:pt x="303267" y="3921668"/>
                </a:lnTo>
                <a:lnTo>
                  <a:pt x="0" y="3100945"/>
                </a:lnTo>
                <a:lnTo>
                  <a:pt x="154313" y="2952463"/>
                </a:lnTo>
                <a:lnTo>
                  <a:pt x="154916" y="2953044"/>
                </a:lnTo>
                <a:lnTo>
                  <a:pt x="155369" y="2953044"/>
                </a:lnTo>
                <a:close/>
              </a:path>
            </a:pathLst>
          </a:custGeom>
          <a:solidFill>
            <a:schemeClr val="accent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800">
              <a:solidFill>
                <a:schemeClr val="lt1"/>
              </a:solidFill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FBFCA24A-B2AA-4752-9F91-09646D76F128}"/>
              </a:ext>
            </a:extLst>
          </p:cNvPr>
          <p:cNvCxnSpPr>
            <a:cxnSpLocks/>
          </p:cNvCxnSpPr>
          <p:nvPr userDrawn="1"/>
        </p:nvCxnSpPr>
        <p:spPr>
          <a:xfrm>
            <a:off x="10512259" y="4068049"/>
            <a:ext cx="115142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</p:custDataLst>
    <p:extLst>
      <p:ext uri="{BB962C8B-B14F-4D97-AF65-F5344CB8AC3E}">
        <p14:creationId xmlns:p14="http://schemas.microsoft.com/office/powerpoint/2010/main" val="3025370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A1AB452-98F6-48B9-912B-89A9B7039C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452164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A1AB452-98F6-48B9-912B-89A9B7039C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délník 4">
            <a:extLst>
              <a:ext uri="{FF2B5EF4-FFF2-40B4-BE49-F238E27FC236}">
                <a16:creationId xmlns:a16="http://schemas.microsoft.com/office/drawing/2014/main" id="{DEAC9763-6B83-47F0-B09F-FF096037E283}"/>
              </a:ext>
            </a:extLst>
          </p:cNvPr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6" name="Subtitle 254">
            <a:extLst>
              <a:ext uri="{FF2B5EF4-FFF2-40B4-BE49-F238E27FC236}">
                <a16:creationId xmlns:a16="http://schemas.microsoft.com/office/drawing/2014/main" id="{32863868-2F80-4394-984C-65C0408D98EB}"/>
              </a:ext>
            </a:extLst>
          </p:cNvPr>
          <p:cNvSpPr txBox="1">
            <a:spLocks/>
          </p:cNvSpPr>
          <p:nvPr userDrawn="1"/>
        </p:nvSpPr>
        <p:spPr>
          <a:xfrm>
            <a:off x="557014" y="321481"/>
            <a:ext cx="6421377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rgbClr val="A6A8AB"/>
                </a:solidFill>
                <a:latin typeface="bill corp mx medium" panose="020B0603050000020004" pitchFamily="34" charset="-18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2000" kern="1200">
                <a:solidFill>
                  <a:srgbClr val="140757"/>
                </a:solidFill>
                <a:latin typeface="bill corp mx light" panose="020B0403050000020004" pitchFamily="34" charset="-18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rgbClr val="140757"/>
                </a:solidFill>
                <a:latin typeface="bill corp mx light" panose="020B0403050000020004" pitchFamily="34" charset="-18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rgbClr val="140757"/>
                </a:solidFill>
                <a:latin typeface="bill corp mx light" panose="020B0403050000020004" pitchFamily="34" charset="-18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rgbClr val="140757"/>
                </a:solidFill>
                <a:latin typeface="bill corp mx light" panose="020B0403050000020004" pitchFamily="34" charset="-18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>
                <a:solidFill>
                  <a:schemeClr val="accent3"/>
                </a:solidFill>
                <a:latin typeface="bill corp mx light" panose="020B0604020202020204" charset="-18"/>
              </a:rPr>
              <a:t>MANDATORY DISCLOSURE</a:t>
            </a:r>
            <a:br>
              <a:rPr lang="en-US" sz="1000">
                <a:solidFill>
                  <a:schemeClr val="accent3"/>
                </a:solidFill>
                <a:latin typeface="bill corp mx light" panose="020B0604020202020204" charset="-18"/>
              </a:rPr>
            </a:br>
            <a:r>
              <a:rPr lang="en-US" sz="1000">
                <a:solidFill>
                  <a:schemeClr val="accent3"/>
                </a:solidFill>
                <a:latin typeface="bill corp mx light" panose="020B0604020202020204" charset="-18"/>
              </a:rPr>
              <a:t>ACCORDING TO IFRS</a:t>
            </a:r>
            <a:endParaRPr lang="cs-CZ" sz="1000">
              <a:solidFill>
                <a:schemeClr val="accent3"/>
              </a:solidFill>
              <a:latin typeface="bill corp mx light" panose="020B0604020202020204" charset="-18"/>
            </a:endParaRPr>
          </a:p>
          <a:p>
            <a:pPr algn="l"/>
            <a:r>
              <a:rPr lang="en-US" sz="1000">
                <a:solidFill>
                  <a:schemeClr val="accent3"/>
                </a:solidFill>
                <a:latin typeface="bill corp mx light" panose="020B0604020202020204" charset="-18"/>
              </a:rPr>
              <a:t>Published: February 7, 2018, 07:00 CET</a:t>
            </a:r>
            <a:endParaRPr lang="cs-CZ" sz="1000">
              <a:solidFill>
                <a:schemeClr val="accent3"/>
              </a:solidFill>
              <a:latin typeface="bill corp mx light" panose="020B0604020202020204" charset="-18"/>
            </a:endParaRPr>
          </a:p>
          <a:p>
            <a:pPr algn="l"/>
            <a:r>
              <a:rPr lang="en-US" sz="1000">
                <a:solidFill>
                  <a:schemeClr val="accent3"/>
                </a:solidFill>
                <a:latin typeface="bill corp mx light" panose="020B0604020202020204" charset="-18"/>
              </a:rPr>
              <a:t>Consolidated, unaudited</a:t>
            </a:r>
          </a:p>
          <a:p>
            <a:pPr algn="l"/>
            <a:r>
              <a:rPr lang="en-US" sz="1000">
                <a:solidFill>
                  <a:schemeClr val="accent3"/>
                </a:solidFill>
                <a:latin typeface="bill corp mx light" panose="020B0604020202020204" charset="-18"/>
              </a:rPr>
              <a:t>Inside information</a:t>
            </a:r>
            <a:endParaRPr lang="cs-CZ" sz="1000">
              <a:solidFill>
                <a:schemeClr val="accent3"/>
              </a:solidFill>
              <a:latin typeface="bill corp mx light" panose="020B0604020202020204" charset="-18"/>
            </a:endParaRPr>
          </a:p>
        </p:txBody>
      </p:sp>
      <p:sp>
        <p:nvSpPr>
          <p:cNvPr id="37" name="Rectangle 5">
            <a:extLst>
              <a:ext uri="{FF2B5EF4-FFF2-40B4-BE49-F238E27FC236}">
                <a16:creationId xmlns:a16="http://schemas.microsoft.com/office/drawing/2014/main" id="{7A5524D5-BE88-4903-A787-2BB3843055DE}"/>
              </a:ext>
            </a:extLst>
          </p:cNvPr>
          <p:cNvSpPr/>
          <p:nvPr userDrawn="1"/>
        </p:nvSpPr>
        <p:spPr>
          <a:xfrm>
            <a:off x="-16087" y="3627121"/>
            <a:ext cx="11620725" cy="1755679"/>
          </a:xfrm>
          <a:prstGeom prst="rect">
            <a:avLst/>
          </a:prstGeom>
          <a:gradFill>
            <a:gsLst>
              <a:gs pos="65000">
                <a:srgbClr val="541C3C"/>
              </a:gs>
              <a:gs pos="8000">
                <a:srgbClr val="FB2C16"/>
              </a:gs>
              <a:gs pos="100000">
                <a:srgbClr val="0F154B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013" y="4095233"/>
            <a:ext cx="10647280" cy="819455"/>
          </a:xfrm>
        </p:spPr>
        <p:txBody>
          <a:bodyPr vert="horz" wrap="square" bIns="0" anchor="ctr" anchorCtr="0">
            <a:spAutoFit/>
          </a:bodyPr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  <a:latin typeface="bill corp mx super" panose="020B0604020202020204" charset="-18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013" y="5580636"/>
            <a:ext cx="10647280" cy="430887"/>
          </a:xfrm>
        </p:spPr>
        <p:txBody>
          <a:bodyPr wrap="square" tIns="0">
            <a:sp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accent1"/>
                </a:solidFill>
                <a:latin typeface="bill corp mx light" panose="020B0604020202020204" charset="-1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B20EAA-4C79-4CCC-8E8D-AD568938853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013" y="2833717"/>
            <a:ext cx="3997780" cy="557218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42810027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4DCCF47-EEAF-4FBD-9DA8-66C1CE4C40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0723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4DCCF47-EEAF-4FBD-9DA8-66C1CE4C40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BF1049D-8ECA-4228-927F-787297EC2E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bill corp mx bold" panose="020B0604020202020204" charset="-18"/>
              <a:ea typeface="+mj-ea"/>
              <a:cs typeface="+mj-cs"/>
              <a:sym typeface="bill corp mx bold" panose="020B0604020202020204" charset="-1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95EFD3-D3F4-4140-BBFF-CB8E4FA41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CF39E8-234B-4C6C-AD21-218CB522B8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B5722A-C014-4A71-ACF9-225F5CE7830F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73551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79B89B-0B1A-40EC-AA86-4F902F492B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3852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79B89B-0B1A-40EC-AA86-4F902F492B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95A51D-50C9-4921-B233-7E9E8AA864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B5722A-C014-4A71-ACF9-225F5CE7830F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1924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669223-3B17-43B0-B5AE-49494F1AF6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4627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669223-3B17-43B0-B5AE-49494F1AF6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E7ED1F7-9FCE-4C2E-8A40-4C97FB23153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201362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 BCKGR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669223-3B17-43B0-B5AE-49494F1AF6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0494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669223-3B17-43B0-B5AE-49494F1AF6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E7ED1F7-9FCE-4C2E-8A40-4C97FB23153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677AC00-AC88-4CEC-8443-A55FD8C44640}"/>
              </a:ext>
            </a:extLst>
          </p:cNvPr>
          <p:cNvSpPr/>
          <p:nvPr userDrawn="1"/>
        </p:nvSpPr>
        <p:spPr>
          <a:xfrm>
            <a:off x="0" y="0"/>
            <a:ext cx="12195176" cy="6858000"/>
          </a:xfrm>
          <a:custGeom>
            <a:avLst/>
            <a:gdLst>
              <a:gd name="connsiteX0" fmla="*/ 0 w 6325400"/>
              <a:gd name="connsiteY0" fmla="*/ 0 h 6858000"/>
              <a:gd name="connsiteX1" fmla="*/ 6081856 w 6325400"/>
              <a:gd name="connsiteY1" fmla="*/ 0 h 6858000"/>
              <a:gd name="connsiteX2" fmla="*/ 6081856 w 6325400"/>
              <a:gd name="connsiteY2" fmla="*/ 1783952 h 6858000"/>
              <a:gd name="connsiteX3" fmla="*/ 6325400 w 6325400"/>
              <a:gd name="connsiteY3" fmla="*/ 1997902 h 6858000"/>
              <a:gd name="connsiteX4" fmla="*/ 6081856 w 6325400"/>
              <a:gd name="connsiteY4" fmla="*/ 2211851 h 6858000"/>
              <a:gd name="connsiteX5" fmla="*/ 6081856 w 6325400"/>
              <a:gd name="connsiteY5" fmla="*/ 6858000 h 6858000"/>
              <a:gd name="connsiteX6" fmla="*/ 0 w 6325400"/>
              <a:gd name="connsiteY6" fmla="*/ 6858000 h 6858000"/>
              <a:gd name="connsiteX0" fmla="*/ 0 w 6081856"/>
              <a:gd name="connsiteY0" fmla="*/ 0 h 6858000"/>
              <a:gd name="connsiteX1" fmla="*/ 6081856 w 6081856"/>
              <a:gd name="connsiteY1" fmla="*/ 0 h 6858000"/>
              <a:gd name="connsiteX2" fmla="*/ 6081856 w 6081856"/>
              <a:gd name="connsiteY2" fmla="*/ 1783952 h 6858000"/>
              <a:gd name="connsiteX3" fmla="*/ 6081856 w 6081856"/>
              <a:gd name="connsiteY3" fmla="*/ 2211851 h 6858000"/>
              <a:gd name="connsiteX4" fmla="*/ 6081856 w 6081856"/>
              <a:gd name="connsiteY4" fmla="*/ 6858000 h 6858000"/>
              <a:gd name="connsiteX5" fmla="*/ 0 w 6081856"/>
              <a:gd name="connsiteY5" fmla="*/ 6858000 h 6858000"/>
              <a:gd name="connsiteX6" fmla="*/ 0 w 6081856"/>
              <a:gd name="connsiteY6" fmla="*/ 0 h 6858000"/>
              <a:gd name="connsiteX0" fmla="*/ 0 w 6081856"/>
              <a:gd name="connsiteY0" fmla="*/ 0 h 6858000"/>
              <a:gd name="connsiteX1" fmla="*/ 6081856 w 6081856"/>
              <a:gd name="connsiteY1" fmla="*/ 0 h 6858000"/>
              <a:gd name="connsiteX2" fmla="*/ 6081856 w 6081856"/>
              <a:gd name="connsiteY2" fmla="*/ 2211851 h 6858000"/>
              <a:gd name="connsiteX3" fmla="*/ 6081856 w 6081856"/>
              <a:gd name="connsiteY3" fmla="*/ 6858000 h 6858000"/>
              <a:gd name="connsiteX4" fmla="*/ 0 w 6081856"/>
              <a:gd name="connsiteY4" fmla="*/ 6858000 h 6858000"/>
              <a:gd name="connsiteX5" fmla="*/ 0 w 6081856"/>
              <a:gd name="connsiteY5" fmla="*/ 0 h 6858000"/>
              <a:gd name="connsiteX0" fmla="*/ 0 w 6081856"/>
              <a:gd name="connsiteY0" fmla="*/ 0 h 6858000"/>
              <a:gd name="connsiteX1" fmla="*/ 6081856 w 6081856"/>
              <a:gd name="connsiteY1" fmla="*/ 0 h 6858000"/>
              <a:gd name="connsiteX2" fmla="*/ 6081856 w 6081856"/>
              <a:gd name="connsiteY2" fmla="*/ 6858000 h 6858000"/>
              <a:gd name="connsiteX3" fmla="*/ 0 w 6081856"/>
              <a:gd name="connsiteY3" fmla="*/ 6858000 h 6858000"/>
              <a:gd name="connsiteX4" fmla="*/ 0 w 6081856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1856" h="6858000">
                <a:moveTo>
                  <a:pt x="0" y="0"/>
                </a:moveTo>
                <a:lnTo>
                  <a:pt x="6081856" y="0"/>
                </a:lnTo>
                <a:lnTo>
                  <a:pt x="608185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3000">
                <a:schemeClr val="accent1"/>
              </a:gs>
              <a:gs pos="100000">
                <a:schemeClr val="accent2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8482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B7AA4DD-C81E-4EB5-82B9-7718047366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542677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B7AA4DD-C81E-4EB5-82B9-7718047366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19EF89E-AB59-46CB-A95F-49DCB22362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0" i="0" baseline="0">
              <a:latin typeface="bill corp mx bold" panose="020B0604020202020204" charset="0"/>
              <a:ea typeface="+mj-ea"/>
              <a:cs typeface="+mj-cs"/>
              <a:sym typeface="bill corp mx bold" panose="020B060402020202020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82D55D7D-632C-462E-8F4F-42F0FB643D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935228"/>
            <a:ext cx="11214743" cy="341632"/>
          </a:xfrm>
        </p:spPr>
        <p:txBody>
          <a:bodyPr vert="horz" anchor="ctr" anchorCtr="0"/>
          <a:lstStyle>
            <a:lvl1pPr>
              <a:defRPr/>
            </a:lvl1pPr>
          </a:lstStyle>
          <a:p>
            <a:r>
              <a:rPr lang="en-GB"/>
              <a:t>Kliknutím lze upravit styl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402903AC-7344-48D0-A7DF-6AC75905FB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B5722A-C014-4A71-ACF9-225F5CE7830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Zástupný symbol pro text 4">
            <a:extLst>
              <a:ext uri="{FF2B5EF4-FFF2-40B4-BE49-F238E27FC236}">
                <a16:creationId xmlns:a16="http://schemas.microsoft.com/office/drawing/2014/main" id="{99947351-73B9-4543-9FEE-CA1187E6AA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979" y="543343"/>
            <a:ext cx="11456043" cy="215444"/>
          </a:xfrm>
        </p:spPr>
        <p:txBody>
          <a:bodyPr anchor="b" anchorCtr="0">
            <a:spAutoFit/>
          </a:bodyPr>
          <a:lstStyle>
            <a:lvl1pPr>
              <a:defRPr sz="1400" cap="all" baseline="0">
                <a:solidFill>
                  <a:schemeClr val="accent3"/>
                </a:solidFill>
                <a:latin typeface="bill corp mx light" panose="020B0604020202020204" charset="-18"/>
              </a:defRPr>
            </a:lvl1pPr>
          </a:lstStyle>
          <a:p>
            <a:pPr lvl="0"/>
            <a:r>
              <a:rPr lang="en-GB"/>
              <a:t>Kliknutím vložíte nadpis</a:t>
            </a:r>
          </a:p>
        </p:txBody>
      </p:sp>
      <p:cxnSp>
        <p:nvCxnSpPr>
          <p:cNvPr id="7" name="Přímá spojnice 6">
            <a:extLst>
              <a:ext uri="{FF2B5EF4-FFF2-40B4-BE49-F238E27FC236}">
                <a16:creationId xmlns:a16="http://schemas.microsoft.com/office/drawing/2014/main" id="{AF662592-AB05-4793-B751-671B5EF8A256}"/>
              </a:ext>
            </a:extLst>
          </p:cNvPr>
          <p:cNvCxnSpPr/>
          <p:nvPr/>
        </p:nvCxnSpPr>
        <p:spPr>
          <a:xfrm>
            <a:off x="367657" y="784440"/>
            <a:ext cx="0" cy="64321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</p:custDataLst>
    <p:extLst>
      <p:ext uri="{BB962C8B-B14F-4D97-AF65-F5344CB8AC3E}">
        <p14:creationId xmlns:p14="http://schemas.microsoft.com/office/powerpoint/2010/main" val="42104651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4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D9B6BF8-E8F5-4952-BAE7-20A10774D1A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37128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customXml" Target="../../customXml/item29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2D1B3FD-7620-4B36-8347-DA24ADA08B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5087492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25" imgH="426" progId="TCLayout.ActiveDocument.1">
                  <p:embed/>
                </p:oleObj>
              </mc:Choice>
              <mc:Fallback>
                <p:oleObj name="think-cell Slide" r:id="rId18" imgW="425" imgH="42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2D1B3FD-7620-4B36-8347-DA24ADA08B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67DCB0-D2FB-4743-986D-1A3DEC9D055F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bill corp mx bold" charset="0"/>
              <a:ea typeface="+mj-ea"/>
              <a:cs typeface="+mj-cs"/>
              <a:sym typeface="bill corp mx bold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6241" y="667429"/>
            <a:ext cx="11379200" cy="3416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6241" y="1291133"/>
            <a:ext cx="11379200" cy="14157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cs-CZ"/>
              <a:t>Basic level – text </a:t>
            </a:r>
            <a:r>
              <a:rPr lang="cs-CZ" err="1"/>
              <a:t>with</a:t>
            </a:r>
            <a:r>
              <a:rPr lang="cs-CZ"/>
              <a:t> no </a:t>
            </a:r>
            <a:r>
              <a:rPr lang="cs-CZ" err="1"/>
              <a:t>bullets</a:t>
            </a:r>
            <a:endParaRPr lang="cs-CZ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22750" y="6272914"/>
            <a:ext cx="552691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accent3"/>
                </a:solidFill>
                <a:latin typeface="bill corp mx bold" panose="020B0703050000020004" pitchFamily="34" charset="-18"/>
              </a:defRPr>
            </a:lvl1pPr>
          </a:lstStyle>
          <a:p>
            <a:fld id="{50B5722A-C014-4A71-ACF9-225F5CE7830F}" type="slidenum">
              <a:rPr lang="cs-CZ" smtClean="0"/>
              <a:pPr/>
              <a:t>‹#›</a:t>
            </a:fld>
            <a:endParaRPr lang="cs-CZ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B44DE36-DEB6-4BF8-8827-035690163A40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40" y="5996497"/>
            <a:ext cx="3152290" cy="439372"/>
          </a:xfrm>
          <a:prstGeom prst="rect">
            <a:avLst/>
          </a:prstGeom>
        </p:spPr>
      </p:pic>
    </p:spTree>
    <p:custDataLst>
      <p:custData r:id="rId15"/>
    </p:custDataLst>
    <p:extLst>
      <p:ext uri="{BB962C8B-B14F-4D97-AF65-F5344CB8AC3E}">
        <p14:creationId xmlns:p14="http://schemas.microsoft.com/office/powerpoint/2010/main" val="1180804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3" r:id="rId10"/>
    <p:sldLayoutId id="2147483736" r:id="rId11"/>
    <p:sldLayoutId id="2147483737" r:id="rId12"/>
    <p:sldLayoutId id="2147483738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rgbClr val="140757"/>
          </a:solidFill>
          <a:latin typeface="bill corp mx bold" panose="020B0604020202020204" charset="-18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rgbClr val="140757"/>
          </a:solidFill>
          <a:latin typeface="bill corp mx book" panose="020B0604020202020204" charset="-18"/>
          <a:ea typeface="+mn-ea"/>
          <a:cs typeface="+mn-cs"/>
        </a:defRPr>
      </a:lvl1pPr>
      <a:lvl2pPr marL="176213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sz="1800" kern="1200">
          <a:solidFill>
            <a:srgbClr val="140757"/>
          </a:solidFill>
          <a:latin typeface="bill corp mx book" panose="020B0604020202020204" charset="-18"/>
          <a:ea typeface="+mn-ea"/>
          <a:cs typeface="+mn-cs"/>
        </a:defRPr>
      </a:lvl2pPr>
      <a:lvl3pPr marL="354013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rgbClr val="140757"/>
          </a:solidFill>
          <a:latin typeface="bill corp mx book" panose="020B0604020202020204" charset="-18"/>
          <a:ea typeface="+mn-ea"/>
          <a:cs typeface="+mn-cs"/>
        </a:defRPr>
      </a:lvl3pPr>
      <a:lvl4pPr marL="53022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rgbClr val="140757"/>
          </a:solidFill>
          <a:latin typeface="bill corp mx book" panose="020B0604020202020204" charset="-18"/>
          <a:ea typeface="+mn-ea"/>
          <a:cs typeface="+mn-cs"/>
        </a:defRPr>
      </a:lvl4pPr>
      <a:lvl5pPr marL="722313" indent="-1920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rgbClr val="140757"/>
          </a:solidFill>
          <a:latin typeface="bill corp mx book" panose="020B0604020202020204" charset="-18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513">
          <p15:clr>
            <a:srgbClr val="F26B43"/>
          </p15:clr>
        </p15:guide>
        <p15:guide id="3" pos="1088">
          <p15:clr>
            <a:srgbClr val="F26B43"/>
          </p15:clr>
        </p15:guide>
        <p15:guide id="4" pos="6592">
          <p15:clr>
            <a:srgbClr val="F26B43"/>
          </p15:clr>
        </p15:guide>
        <p15:guide id="5" orient="horz" pos="414">
          <p15:clr>
            <a:srgbClr val="F26B43"/>
          </p15:clr>
        </p15:guide>
        <p15:guide id="6" orient="horz" pos="3612">
          <p15:clr>
            <a:srgbClr val="F26B43"/>
          </p15:clr>
        </p15:guide>
        <p15:guide id="7" pos="7105">
          <p15:clr>
            <a:srgbClr val="F26B43"/>
          </p15:clr>
        </p15:guide>
        <p15:guide id="8" orient="horz" pos="3997">
          <p15:clr>
            <a:srgbClr val="F26B43"/>
          </p15:clr>
        </p15:guide>
        <p15:guide id="9" orient="horz" pos="4133">
          <p15:clr>
            <a:srgbClr val="F26B43"/>
          </p15:clr>
        </p15:guide>
        <p15:guide id="10" pos="3888">
          <p15:clr>
            <a:srgbClr val="F26B43"/>
          </p15:clr>
        </p15:guide>
        <p15:guide id="11" pos="3792">
          <p15:clr>
            <a:srgbClr val="F26B43"/>
          </p15:clr>
        </p15:guide>
        <p15:guide id="12" pos="211">
          <p15:clr>
            <a:srgbClr val="F26B43"/>
          </p15:clr>
        </p15:guide>
        <p15:guide id="13" pos="2485">
          <p15:clr>
            <a:srgbClr val="F26B43"/>
          </p15:clr>
        </p15:guide>
        <p15:guide id="14" pos="2587">
          <p15:clr>
            <a:srgbClr val="F26B43"/>
          </p15:clr>
        </p15:guide>
        <p15:guide id="15" pos="5093">
          <p15:clr>
            <a:srgbClr val="F26B43"/>
          </p15:clr>
        </p15:guide>
        <p15:guide id="16" pos="5195">
          <p15:clr>
            <a:srgbClr val="F26B43"/>
          </p15:clr>
        </p15:guide>
        <p15:guide id="17" pos="301">
          <p15:clr>
            <a:srgbClr val="F26B43"/>
          </p15:clr>
        </p15:guide>
        <p15:guide id="18" orient="horz" pos="1185">
          <p15:clr>
            <a:srgbClr val="F26B43"/>
          </p15:clr>
        </p15:guide>
        <p15:guide id="19" orient="horz" pos="1298">
          <p15:clr>
            <a:srgbClr val="F26B43"/>
          </p15:clr>
        </p15:guide>
        <p15:guide id="20" orient="horz" pos="1071">
          <p15:clr>
            <a:srgbClr val="F26B43"/>
          </p15:clr>
        </p15:guide>
        <p15:guide id="21" orient="horz" pos="119">
          <p15:clr>
            <a:srgbClr val="F26B43"/>
          </p15:clr>
        </p15:guide>
        <p15:guide id="22" orient="horz" pos="210">
          <p15:clr>
            <a:srgbClr val="F26B43"/>
          </p15:clr>
        </p15:guide>
        <p15:guide id="23" orient="horz" pos="37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7.xml"/><Relationship Id="rId7" Type="http://schemas.openxmlformats.org/officeDocument/2006/relationships/chart" Target="../charts/chart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0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7.xml"/><Relationship Id="rId7" Type="http://schemas.openxmlformats.org/officeDocument/2006/relationships/chart" Target="../charts/chart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 descr="Obsah obrázku text, snímek obrazovky, Písmo, grafický design&#10;&#10;Popis byl vytvořen automaticky">
            <a:extLst>
              <a:ext uri="{FF2B5EF4-FFF2-40B4-BE49-F238E27FC236}">
                <a16:creationId xmlns:a16="http://schemas.microsoft.com/office/drawing/2014/main" id="{15723DEB-B81E-5F7F-0525-8C35C3EB0A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9546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 descr="Obsah obrázku text, snímek obrazovky, software, Písmo&#10;&#10;Popis byl vytvořen automaticky">
            <a:extLst>
              <a:ext uri="{FF2B5EF4-FFF2-40B4-BE49-F238E27FC236}">
                <a16:creationId xmlns:a16="http://schemas.microsoft.com/office/drawing/2014/main" id="{A782D070-2348-82FD-EC01-63A8A8FF961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3837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 descr="Obsah obrázku text, snímek obrazovky, Písmo, grafický design&#10;&#10;Popis byl vytvořen automaticky">
            <a:extLst>
              <a:ext uri="{FF2B5EF4-FFF2-40B4-BE49-F238E27FC236}">
                <a16:creationId xmlns:a16="http://schemas.microsoft.com/office/drawing/2014/main" id="{914AB4A1-0125-DA36-B435-4A3BF39D7C6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3290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 descr="Obsah obrázku text, snímek obrazovky, Písmo, číslo&#10;&#10;Popis byl vytvořen automaticky">
            <a:extLst>
              <a:ext uri="{FF2B5EF4-FFF2-40B4-BE49-F238E27FC236}">
                <a16:creationId xmlns:a16="http://schemas.microsoft.com/office/drawing/2014/main" id="{C2DCEFEF-F994-3B94-AEA8-9080FB1853D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2187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ACB32FB2-F448-47E2-B114-4F826C01C0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11824" y="3140968"/>
            <a:ext cx="6794129" cy="1107996"/>
          </a:xfrm>
        </p:spPr>
        <p:txBody>
          <a:bodyPr/>
          <a:lstStyle/>
          <a:p>
            <a:r>
              <a:rPr lang="cs-CZ" sz="3600" b="1" dirty="0">
                <a:latin typeface="bill corp mx bold" panose="020B0604020202020204" charset="-18"/>
                <a:cs typeface="bill corp mx super" panose="020B0604020202020204" charset="0"/>
              </a:rPr>
              <a:t>UPLATŇOVÁNÍ SLEVY NA SOCIÁLNÍM POJIŠTĚNÍ</a:t>
            </a:r>
            <a:endParaRPr lang="en-US" sz="3600" dirty="0">
              <a:latin typeface="bill corp mx bold" panose="020B0604020202020204" charset="-18"/>
              <a:cs typeface="bill corp mx super" panose="020B060402020202020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047C8CA-1967-4877-869B-EC470B200C36}"/>
              </a:ext>
            </a:extLst>
          </p:cNvPr>
          <p:cNvSpPr txBox="1"/>
          <p:nvPr/>
        </p:nvSpPr>
        <p:spPr>
          <a:xfrm>
            <a:off x="3741962" y="4797152"/>
            <a:ext cx="7537226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  <a:latin typeface="bill corp mx light" panose="020B0604020202020204" charset="-18"/>
              </a:defRPr>
            </a:lvl1pPr>
            <a:lvl2pPr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2000">
                <a:solidFill>
                  <a:srgbClr val="140757"/>
                </a:solidFill>
                <a:latin typeface="bill corp mx book" panose="020B0604020202020204" charset="-18"/>
              </a:defRPr>
            </a:lvl2pPr>
            <a:lvl3pPr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rgbClr val="140757"/>
                </a:solidFill>
                <a:latin typeface="bill corp mx book" panose="020B0604020202020204" charset="-18"/>
              </a:defRPr>
            </a:lvl3pPr>
            <a:lvl4pPr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rgbClr val="140757"/>
                </a:solidFill>
                <a:latin typeface="bill corp mx book" panose="020B0604020202020204" charset="-18"/>
              </a:defRPr>
            </a:lvl4pPr>
            <a:lvl5pPr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rgbClr val="140757"/>
                </a:solidFill>
                <a:latin typeface="bill corp mx book" panose="020B0604020202020204" charset="-18"/>
              </a:defRPr>
            </a:lvl5pPr>
            <a:lvl6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6pPr>
            <a:lvl7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7pPr>
            <a:lvl8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8pPr>
            <a:lvl9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9pPr>
          </a:lstStyle>
          <a:p>
            <a:r>
              <a:rPr lang="cs-CZ" sz="2000" dirty="0"/>
              <a:t>Tisková konference, 11. září 2023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2878440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51ACF9D-0CB9-494F-AE4C-673243E295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51ACF9D-0CB9-494F-AE4C-673243E295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C844AA0-3289-4A71-A12D-2667317B1FA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+mn-cs"/>
              <a:sym typeface="Arial" panose="020B0604020202020204" pitchFamily="34" charset="0"/>
            </a:endParaRPr>
          </a:p>
        </p:txBody>
      </p:sp>
      <p:sp>
        <p:nvSpPr>
          <p:cNvPr id="165" name="Nadpis 10">
            <a:extLst>
              <a:ext uri="{FF2B5EF4-FFF2-40B4-BE49-F238E27FC236}">
                <a16:creationId xmlns:a16="http://schemas.microsoft.com/office/drawing/2014/main" id="{44ED0875-2473-4E29-AC58-44269AA5BE3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92912" y="214695"/>
            <a:ext cx="11456988" cy="455509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cs-CZ" sz="3200" dirty="0">
                <a:solidFill>
                  <a:schemeClr val="bg1"/>
                </a:solidFill>
                <a:latin typeface="bill corp mx bold" panose="020B0604020202020204" charset="0"/>
                <a:cs typeface="bill corp mx super" panose="020B0604020202020204" charset="0"/>
              </a:rPr>
              <a:t>ZNEVÝHODNĚNÉ SKUPINY V MONETĚ</a:t>
            </a:r>
            <a:endParaRPr lang="en-US" sz="3200" dirty="0">
              <a:solidFill>
                <a:schemeClr val="bg1"/>
              </a:solidFill>
              <a:latin typeface="bill corp mx bold" panose="020B0604020202020204" charset="0"/>
              <a:cs typeface="bill corp mx super" panose="020B0604020202020204" charset="0"/>
            </a:endParaRP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979DCF8A-4EBB-5B5A-0458-3209583D34B9}"/>
              </a:ext>
            </a:extLst>
          </p:cNvPr>
          <p:cNvSpPr txBox="1">
            <a:spLocks/>
          </p:cNvSpPr>
          <p:nvPr/>
        </p:nvSpPr>
        <p:spPr>
          <a:xfrm>
            <a:off x="11547997" y="6385124"/>
            <a:ext cx="552691" cy="202799"/>
          </a:xfrm>
          <a:prstGeom prst="rect">
            <a:avLst/>
          </a:prstGeom>
        </p:spPr>
        <p:txBody>
          <a:bodyPr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0B5722A-C014-4A71-ACF9-225F5CE7830F}" type="slidenum">
              <a:rPr lang="en-US" sz="1000" smtClean="0">
                <a:solidFill>
                  <a:schemeClr val="accent3"/>
                </a:solidFill>
                <a:latin typeface="bill corp mx bold" panose="020B0604020202020204" charset="-18"/>
              </a:rPr>
              <a:pPr algn="ctr"/>
              <a:t>5</a:t>
            </a:fld>
            <a:endParaRPr lang="en-US" sz="1000" dirty="0">
              <a:solidFill>
                <a:schemeClr val="accent3"/>
              </a:solidFill>
              <a:latin typeface="bill corp mx bold" panose="020B0604020202020204" charset="-18"/>
            </a:endParaRPr>
          </a:p>
        </p:txBody>
      </p:sp>
      <p:graphicFrame>
        <p:nvGraphicFramePr>
          <p:cNvPr id="3" name="Graf 5">
            <a:extLst>
              <a:ext uri="{FF2B5EF4-FFF2-40B4-BE49-F238E27FC236}">
                <a16:creationId xmlns:a16="http://schemas.microsoft.com/office/drawing/2014/main" id="{192CA0E4-D67A-4220-9692-D6A00DAF55F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25069778"/>
              </p:ext>
            </p:extLst>
          </p:nvPr>
        </p:nvGraphicFramePr>
        <p:xfrm>
          <a:off x="749808" y="900111"/>
          <a:ext cx="11350880" cy="56226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12" name="Graphic 11" descr="Bullseye with solid fill">
            <a:extLst>
              <a:ext uri="{FF2B5EF4-FFF2-40B4-BE49-F238E27FC236}">
                <a16:creationId xmlns:a16="http://schemas.microsoft.com/office/drawing/2014/main" id="{431025C1-388D-2B67-4DDF-2943A9C8A98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37595" y="4847419"/>
            <a:ext cx="1697980" cy="169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2459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51ACF9D-0CB9-494F-AE4C-673243E295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51ACF9D-0CB9-494F-AE4C-673243E295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C844AA0-3289-4A71-A12D-2667317B1FA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+mn-cs"/>
              <a:sym typeface="Arial" panose="020B0604020202020204" pitchFamily="34" charset="0"/>
            </a:endParaRPr>
          </a:p>
        </p:txBody>
      </p:sp>
      <p:sp>
        <p:nvSpPr>
          <p:cNvPr id="165" name="Nadpis 10">
            <a:extLst>
              <a:ext uri="{FF2B5EF4-FFF2-40B4-BE49-F238E27FC236}">
                <a16:creationId xmlns:a16="http://schemas.microsoft.com/office/drawing/2014/main" id="{44ED0875-2473-4E29-AC58-44269AA5BE3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92912" y="214695"/>
            <a:ext cx="11456988" cy="455509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cs-CZ" sz="3200" dirty="0">
                <a:solidFill>
                  <a:schemeClr val="bg1"/>
                </a:solidFill>
                <a:latin typeface="bill corp mx bold" panose="020B0604020202020204" charset="0"/>
                <a:cs typeface="bill corp mx super" panose="020B0604020202020204" charset="0"/>
              </a:rPr>
              <a:t>ZNEVÝHODNĚNÉ SKUPINY V MONETĚ</a:t>
            </a:r>
            <a:endParaRPr lang="en-US" sz="3200" dirty="0">
              <a:solidFill>
                <a:schemeClr val="bg1"/>
              </a:solidFill>
              <a:latin typeface="bill corp mx bold" panose="020B0604020202020204" charset="0"/>
              <a:cs typeface="bill corp mx super" panose="020B0604020202020204" charset="0"/>
            </a:endParaRP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979DCF8A-4EBB-5B5A-0458-3209583D34B9}"/>
              </a:ext>
            </a:extLst>
          </p:cNvPr>
          <p:cNvSpPr txBox="1">
            <a:spLocks/>
          </p:cNvSpPr>
          <p:nvPr/>
        </p:nvSpPr>
        <p:spPr>
          <a:xfrm>
            <a:off x="11547997" y="6385124"/>
            <a:ext cx="552691" cy="202799"/>
          </a:xfrm>
          <a:prstGeom prst="rect">
            <a:avLst/>
          </a:prstGeom>
        </p:spPr>
        <p:txBody>
          <a:bodyPr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0B5722A-C014-4A71-ACF9-225F5CE7830F}" type="slidenum">
              <a:rPr lang="en-US" sz="1000" smtClean="0">
                <a:solidFill>
                  <a:schemeClr val="accent3"/>
                </a:solidFill>
                <a:latin typeface="bill corp mx bold" panose="020B0604020202020204" charset="-18"/>
              </a:rPr>
              <a:pPr algn="ctr"/>
              <a:t>6</a:t>
            </a:fld>
            <a:endParaRPr lang="en-US" sz="1000" dirty="0">
              <a:solidFill>
                <a:schemeClr val="accent3"/>
              </a:solidFill>
              <a:latin typeface="bill corp mx bold" panose="020B0604020202020204" charset="-18"/>
            </a:endParaRPr>
          </a:p>
        </p:txBody>
      </p:sp>
      <p:graphicFrame>
        <p:nvGraphicFramePr>
          <p:cNvPr id="2" name="Graf 4">
            <a:extLst>
              <a:ext uri="{FF2B5EF4-FFF2-40B4-BE49-F238E27FC236}">
                <a16:creationId xmlns:a16="http://schemas.microsoft.com/office/drawing/2014/main" id="{15554FF3-CE28-4127-8320-FDD119A284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27349264"/>
              </p:ext>
            </p:extLst>
          </p:nvPr>
        </p:nvGraphicFramePr>
        <p:xfrm>
          <a:off x="1600200" y="1082880"/>
          <a:ext cx="9947797" cy="5302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3" name="Graphic 11" descr="Bullseye with solid fill">
            <a:extLst>
              <a:ext uri="{FF2B5EF4-FFF2-40B4-BE49-F238E27FC236}">
                <a16:creationId xmlns:a16="http://schemas.microsoft.com/office/drawing/2014/main" id="{19FB6BFC-DF36-71F2-ABC9-031ED785788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37595" y="4847419"/>
            <a:ext cx="1697980" cy="169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0074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ORYSHAPER_PRESENTATIONID" val="e1c87fa5-a347-42e5-99ba-475fc0d61147"/>
  <p:tag name="STORYSHAPER_OPTIONS" val="&lt;?xml version=&quot;1.0&quot; encoding=&quot;utf-16&quot;?&gt;&#10;&lt;ModelOptions xmlns:xsi=&quot;http://www.w3.org/2001/XMLSchema-instance&quot; xmlns:xsd=&quot;http://www.w3.org/2001/XMLSchema&quot; StoryShaperGitBranch=&quot;master&quot; StoryShaperDllVersion=&quot;0.9.1.491&quot; StoryShaperGitCommitNumber=&quot;902b621&quot; StoryShaperInitialGitBranch=&quot;master&quot; StoryShaperInitialDllVersion=&quot;0.9.1.491&quot; StoryShaperInitialGitCommitNumber=&quot;902b621&quot; StoryShaperModelVersion=&quot;1.0&quot;&gt;&#10;  &lt;ShownUsers /&gt;&#10;  &lt;ShownProgresses /&gt;&#10;  &lt;ShownPriorities /&gt;&#10;&lt;/ModelOptions&gt;"/>
  <p:tag name="STORYSHAPER_DATA" val="&lt;?xml version=&quot;1.0&quot; encoding=&quot;utf-16&quot;?&gt;&#10;&lt;ModelDocument xmlns:xsi=&quot;http://www.w3.org/2001/XMLSchema-instance&quot; xmlns:xsd=&quot;http://www.w3.org/2001/XMLSchema&quot; StoryShaperGitBranch=&quot;master&quot; StoryShaperDllVersion=&quot;0.9.1.491&quot; StoryShaperGitCommitNumber=&quot;902b621&quot; StoryShaperInitialGitBranch=&quot;master&quot; StoryShaperInitialDllVersion=&quot;0.9.1.491&quot; StoryShaperInitialGitCommitNumber=&quot;902b621&quot; StoryShaperModelVersion=&quot;1.0&quot;&gt;&#10;  &lt;PresentationGUID&gt;00000000-0000-0000-0000-000000000000&lt;/PresentationGUID&gt;&#10;  &lt;PresentationInstanceGUID&gt;00000000-0000-0000-0000-000000000000&lt;/PresentationInstanceGUID&gt;&#10;  &lt;PresentationVersionID&gt;6534c9dd-9c22-41ee-b0bf-7319d5ebd932&lt;/PresentationVersionID&gt;&#10;  &lt;Managers&gt;&#10;    &lt;ModelUser&gt;&#10;      &lt;Id&gt;2147483647&lt;/Id&gt;&#10;      &lt;FirstName&gt;Jan&lt;/FirstName&gt;&#10;      &lt;LastName&gt;Pochop&lt;/LastName&gt;&#10;      &lt;Email&gt;jan@pochop.net&lt;/Email&gt;&#10;      &lt;Initials&gt;JP&lt;/Initials&gt;&#10;      &lt;Rights&gt;Administrate&lt;/Rights&gt;&#10;    &lt;/ModelUser&gt;&#10;  &lt;/Managers&gt;&#10;  &lt;Root&gt;&#10;    &lt;Id&gt;63ebabcc-7ee1-40ba-b19e-dab52f3da09d&lt;/Id&gt;&#10;    &lt;Connections /&gt;&#10;    &lt;Discussions /&gt;&#10;    &lt;Children /&gt;&#10;    &lt;LogicType&gt;0&lt;/LogicType&gt;&#10;    &lt;ShapeType&gt;0&lt;/ShapeType&gt;&#10;    &lt;Description&gt;New message&lt;/Description&gt;&#10;    &lt;NodeBackground&gt;&#10;      &lt;A&gt;255&lt;/A&gt;&#10;      &lt;R&gt;255&lt;/R&gt;&#10;      &lt;G&gt;255&lt;/G&gt;&#10;      &lt;B&gt;255&lt;/B&gt;&#10;      &lt;ScA&gt;1&lt;/ScA&gt;&#10;      &lt;ScR&gt;1&lt;/ScR&gt;&#10;      &lt;ScG&gt;1&lt;/ScG&gt;&#10;      &lt;ScB&gt;1&lt;/ScB&gt;&#10;    &lt;/NodeBackground&gt;&#10;    &lt;Width&gt;0&lt;/Width&gt;&#10;    &lt;Height&gt;0&lt;/Height&gt;&#10;  &lt;/Root&gt;&#10;  &lt;CurrentUser&gt;&#10;    &lt;Id&gt;2147483647&lt;/Id&gt;&#10;    &lt;FirstName&gt;Jan&lt;/FirstName&gt;&#10;    &lt;LastName&gt;Pochop&lt;/LastName&gt;&#10;    &lt;Email&gt;jan@pochop.net&lt;/Email&gt;&#10;    &lt;Initials&gt;JP&lt;/Initials&gt;&#10;    &lt;Rights&gt;Administrate&lt;/Rights&gt;&#10;  &lt;/CurrentUser&gt;&#10;  &lt;PendingStorylineCreation&gt;true&lt;/PendingStorylineCreation&gt;&#10;&lt;/ModelDocument&gt;"/>
  <p:tag name="THINKCELLPRESENTATIONDONOTDELETE" val="&lt;?xml version=&quot;1.0&quot; encoding=&quot;UTF-16&quot; standalone=&quot;yes&quot;?&gt;&lt;root reqver=&quot;25060&quot;&gt;&lt;version val=&quot;2838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6.12579511000000032084E+00&quot;&gt;&lt;m_msothmcolidx val=&quot;0&quot;/&gt;&lt;m_rgb r=&quot;00&quot; g=&quot;D2&quot; b=&quot;2B&quot;/&gt;&lt;m_nBrightness endver=&quot;26206&quot; val=&quot;0&quot;/&gt;&lt;/elem&gt;&lt;elem m_fUsage=&quot;5.96240132571000058803E-01&quot;&gt;&lt;m_msothmcolidx val=&quot;0&quot;/&gt;&lt;m_rgb r=&quot;79&quot; g=&quot;73&quot; b=&quot;9F&quot;/&gt;&lt;m_nBrightness endver=&quot;26206&quot; val=&quot;0&quot;/&gt;&lt;/elem&gt;&lt;elem m_fUsage=&quot;3.87420489000000145552E-01&quot;&gt;&lt;m_msothmcolidx val=&quot;0&quot;/&gt;&lt;m_rgb r=&quot;A7&quot; g=&quot;A4&quot; b=&quot;C4&quot;/&gt;&lt;m_nBrightness endver=&quot;26206&quot; val=&quot;0&quot;/&gt;&lt;/elem&gt;&lt;elem m_fUsage=&quot;3.48678440100000153201E-01&quot;&gt;&lt;m_msothmcolidx val=&quot;0&quot;/&gt;&lt;m_rgb r=&quot;85&quot; g=&quot;9A&quot; b=&quot;B7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WhHm4cSVKJmq_ZLMZq3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AIrqSoQ9e9SD0CM1br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P9z9KZzGE8GGAIbYLY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P9z9KZzGE8GGAIbYLYh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YiPPqnRO2bjoMMHlvmV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jCEYQAQyepTwJPtTr1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jCEYQAQyepTwJPtTr1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b.GnwQQCWm9TRPnhnf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KH9WJOQ0yN29x7TESK2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MONETA">
  <a:themeElements>
    <a:clrScheme name="MONETA COLOR CODING">
      <a:dk1>
        <a:srgbClr val="140757"/>
      </a:dk1>
      <a:lt1>
        <a:sysClr val="window" lastClr="FFFFFF"/>
      </a:lt1>
      <a:dk2>
        <a:srgbClr val="000000"/>
      </a:dk2>
      <a:lt2>
        <a:srgbClr val="E7E6E6"/>
      </a:lt2>
      <a:accent1>
        <a:srgbClr val="140757"/>
      </a:accent1>
      <a:accent2>
        <a:srgbClr val="ED1C24"/>
      </a:accent2>
      <a:accent3>
        <a:srgbClr val="A6A8AB"/>
      </a:accent3>
      <a:accent4>
        <a:srgbClr val="4F4581"/>
      </a:accent4>
      <a:accent5>
        <a:srgbClr val="8983AB"/>
      </a:accent5>
      <a:accent6>
        <a:srgbClr val="C4C1D5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712163AB-FA2A-4CB2-9D9F-BEAE42F82861}" vid="{0757D3BB-AD12-4EB0-A702-9E4B11B78FD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��< ? x m l   v e r s i o n = " 1 . 0 "   e n c o d i n g = " u t f - 1 6 " ? > < C u s t o m L a y o u t I d   x m l n s : x s i = " h t t p : / / w w w . w 3 . o r g / 2 0 0 1 / X M L S c h e m a - i n s t a n c e "   x m l n s : x s d = " h t t p : / / w w w . w 3 . o r g / 2 0 0 1 / X M L S c h e m a " >  
     < P r e s e n t a t i o n I n s t a n c e G u i d > f 2 b e f 8 3 7 - d e 8 3 - 4 f 1 f - b 8 e 1 - 6 c b d b f 9 f 9 9 9 2 < / P r e s e n t a t i o n I n s t a n c e G u i d >  
     < S l i d e M a s t e r G u i d > e 1 6 9 0 9 5 4 - a 1 7 f - 4 8 d e - 8 e 7 c - c 5 7 e 1 5 d c d a 0 d < / S l i d e M a s t e r G u i d >  
     < C u s t o m L a y o u t G u i d > b a 3 4 0 8 a 1 - 9 1 6 2 - 4 1 a 2 - 8 b f 8 - 3 4 f b 5 e 7 d 8 6 c 0 < / C u s t o m L a y o u t G u i d >  
 < / C u s t o m L a y o u t I d > 
</file>

<file path=customXml/item10.xml>��< ? x m l   v e r s i o n = " 1 . 0 "   e n c o d i n g = " u t f - 1 6 " ? > < C u s t o m L a y o u t I d   x m l n s : x s i = " h t t p : / / w w w . w 3 . o r g / 2 0 0 1 / X M L S c h e m a - i n s t a n c e "   x m l n s : x s d = " h t t p : / / w w w . w 3 . o r g / 2 0 0 1 / X M L S c h e m a " >  
     < P r e s e n t a t i o n I n s t a n c e G u i d > f 2 b e f 8 3 7 - d e 8 3 - 4 f 1 f - b 8 e 1 - 6 c b d b f 9 f 9 9 9 2 < / P r e s e n t a t i o n I n s t a n c e G u i d >  
     < S l i d e M a s t e r G u i d > e 1 6 9 0 9 5 4 - a 1 7 f - 4 8 d e - 8 e 7 c - c 5 7 e 1 5 d c d a 0 d < / S l i d e M a s t e r G u i d >  
     < C u s t o m L a y o u t G u i d > 2 e c a 0 a a d - 7 4 7 c - 4 5 a 3 - b c 0 c - 9 1 d f a d a 6 f 6 d 3 < / C u s t o m L a y o u t G u i d >  
 < / C u s t o m L a y o u t I d > 
</file>

<file path=customXml/item11.xml>��< ? x m l   v e r s i o n = " 1 . 0 "   e n c o d i n g = " u t f - 1 6 " ? > < C u s t o m L a y o u t I d   x m l n s : x s i = " h t t p : / / w w w . w 3 . o r g / 2 0 0 1 / X M L S c h e m a - i n s t a n c e "   x m l n s : x s d = " h t t p : / / w w w . w 3 . o r g / 2 0 0 1 / X M L S c h e m a " >  
     < P r e s e n t a t i o n I n s t a n c e G u i d > f 2 b e f 8 3 7 - d e 8 3 - 4 f 1 f - b 8 e 1 - 6 c b d b f 9 f 9 9 9 2 < / P r e s e n t a t i o n I n s t a n c e G u i d >  
     < S l i d e M a s t e r G u i d > e 1 6 9 0 9 5 4 - a 1 7 f - 4 8 d e - 8 e 7 c - c 5 7 e 1 5 d c d a 0 d < / S l i d e M a s t e r G u i d >  
     < C u s t o m L a y o u t G u i d > 3 7 2 3 a f 0 9 - 1 8 d 3 - 4 2 d b - a 2 c 8 - c e 3 0 f a 1 b f 9 0 5 < / C u s t o m L a y o u t G u i d >  
 < / C u s t o m L a y o u t I d > 
</file>

<file path=customXml/item12.xml><?xml version="1.0" encoding="utf-8"?>
<Control xmlns="http://schemas.microsoft.com/VisualStudio/2011/storyboarding/control">
  <Id Name="85de5470-7111-4146-bf78-7d5c89d84807" Revision="1" Stencil="System.MyShapes" StencilVersion="1.0"/>
</Control>
</file>

<file path=customXml/item13.xml><?xml version="1.0" encoding="utf-8"?>
<Control xmlns="http://schemas.microsoft.com/VisualStudio/2011/storyboarding/control">
  <Id Name="85de5470-7111-4146-bf78-7d5c89d84807" Revision="1" Stencil="System.MyShapes" StencilVersion="1.0"/>
</Control>
</file>

<file path=customXml/item14.xml>��< ? x m l   v e r s i o n = " 1 . 0 "   e n c o d i n g = " u t f - 1 6 " ? > < C u s t o m L a y o u t I d   x m l n s : x s i = " h t t p : / / w w w . w 3 . o r g / 2 0 0 1 / X M L S c h e m a - i n s t a n c e "   x m l n s : x s d = " h t t p : / / w w w . w 3 . o r g / 2 0 0 1 / X M L S c h e m a " >  
     < P r e s e n t a t i o n I n s t a n c e G u i d > f 2 b e f 8 3 7 - d e 8 3 - 4 f 1 f - b 8 e 1 - 6 c b d b f 9 f 9 9 9 2 < / P r e s e n t a t i o n I n s t a n c e G u i d >  
     < S l i d e M a s t e r G u i d > e 1 6 9 0 9 5 4 - a 1 7 f - 4 8 d e - 8 e 7 c - c 5 7 e 1 5 d c d a 0 d < / S l i d e M a s t e r G u i d >  
     < C u s t o m L a y o u t G u i d > 6 0 2 d 4 3 f b - 5 3 4 a - 4 d 0 9 - 8 6 8 0 - a 9 7 3 6 c 5 3 8 a 1 1 < / C u s t o m L a y o u t G u i d >  
 < / C u s t o m L a y o u t I d > 
</file>

<file path=customXml/item15.xml>��< ? x m l   v e r s i o n = " 1 . 0 "   e n c o d i n g = " u t f - 1 6 " ? > < S t o r y S h a p e r D a t a   x m l n s : x s i = " h t t p : / / w w w . w 3 . o r g / 2 0 0 1 / X M L S c h e m a - i n s t a n c e "   x m l n s : x s d = " h t t p : / / w w w . w 3 . o r g / 2 0 0 1 / X M L S c h e m a "   S t o r y S h a p e r G i t B r a n c h = " u n k n o w n "   S t o r y S h a p e r D l l V e r s i o n = " 0 . 0 . 0 . 0 "   S t o r y S h a p e r G i t C o m m i t N u m b e r = " 0 0 0 0 0 0 0 "   S t o r y S h a p e r M o d e l V e r s i o n = " 1 . 0 "   x m l n s = " h t t p : / / s t o r y s h a p e r . i o " >  
     < S t o r y S h a p e r _ P r e s e n t a t i o n _ i n s t a n c e I D > f 2 b e f 8 3 7 - d e 8 3 - 4 f 1 f - b 8 e 1 - 6 c b d b f 9 f 9 9 9 2 < / S t o r y S h a p e r _ P r e s e n t a t i o n _ i n s t a n c e I D >  
     < S l i d e s   I d = " 3 1 4 "   G u i d = " e 1 b 2 9 d e 0 - f 7 5 0 - 4 3 a 5 - 8 8 7 a - 8 6 3 2 7 8 5 8 c 7 5 1 "   N o d e I d = " 6 3 e b a b c c - 7 e e 1 - 4 0 b a - b 1 9 e - d a b 5 2 f 3 d a 0 9 d " / >  
     < S l i d e s   I d = " 6 4 5 "   G u i d = " 8 5 e 4 7 5 3 0 - b 1 9 2 - 4 0 1 b - 9 e 3 d - 2 1 1 b 1 0 b 3 c b 0 d "   N o d e I d = " 6 3 e b a b c c - 7 e e 1 - 4 0 b a - b 1 9 e - d a b 5 2 f 3 d a 0 9 d " / >  
     < S l i d e s   I d = " 6 3 6 "   G u i d = " 4 5 4 9 d c 5 5 - 9 b 9 3 - 4 2 f c - a 0 a 3 - c 8 f 6 b d d d 6 e 2 8 "   N o d e I d = " 6 3 e b a b c c - 7 e e 1 - 4 0 b a - b 1 9 e - d a b 5 2 f 3 d a 0 9 d " / >  
     < S l i d e s   I d = " 8 4 0 "   G u i d = " 8 d 1 c 3 b 0 9 - 0 1 4 0 - 4 b 6 f - 8 d 7 c - 7 9 4 a 3 7 5 8 1 7 b 6 "   N o d e I d = " 6 3 e b a b c c - 7 e e 1 - 4 0 b a - b 1 9 e - d a b 5 2 f 3 d a 0 9 d " / >  
     < S l i d e s   I d = " 7 3 9 "   G u i d = " 3 6 3 6 0 6 3 4 - 3 1 1 1 - 4 2 d f - a 1 3 4 - a 2 e 8 8 7 4 8 e f e 0 "   N o d e I d = " 6 3 e b a b c c - 7 e e 1 - 4 0 b a - b 1 9 e - d a b 5 2 f 3 d a 0 9 d " / >  
     < S l i d e s   I d = " 8 4 4 "   G u i d = " 7 5 3 b 1 a b 1 - 0 1 d b - 4 1 f 5 - 8 f 7 d - 3 2 5 7 f c a 5 5 b 1 e "   N o d e I d = " 6 3 e b a b c c - 7 e e 1 - 4 0 b a - b 1 9 e - d a b 5 2 f 3 d a 0 9 d " / >  
     < S l i d e s   I d = " 7 0 7 "   G u i d = " 3 f 9 0 1 0 2 e - 1 7 4 2 - 4 2 e 7 - a 7 9 2 - e 7 8 c 7 5 2 2 7 1 2 f "   N o d e I d = " 6 3 e b a b c c - 7 e e 1 - 4 0 b a - b 1 9 e - d a b 5 2 f 3 d a 0 9 d " / >  
     < S l i d e s   I d = " 8 4 5 "   G u i d = " 6 c 0 9 e d c a - 2 d 7 c - 4 8 d 1 - 8 9 6 6 - 1 4 c 3 0 9 0 e 9 8 f 2 "   N o d e I d = " 6 3 e b a b c c - 7 e e 1 - 4 0 b a - b 1 9 e - d a b 5 2 f 3 d a 0 9 d " / >  
     < S l i d e s   I d = " 3 2 9 "   G u i d = " 1 1 7 5 1 1 2 1 - 3 f 6 0 - 4 b b 6 - 9 a 4 9 - e e 3 8 e 0 b 4 3 b 5 5 "   N o d e I d = " 6 3 e b a b c c - 7 e e 1 - 4 0 b a - b 1 9 e - d a b 5 2 f 3 d a 0 9 d " / >  
     < S l i d e s   I d = " 7 4 2 "   G u i d = " 6 9 3 4 6 3 9 9 - a 0 3 1 - 4 2 d 0 - 8 6 1 b - c a 6 2 d 3 7 0 5 2 7 2 "   N o d e I d = " 6 3 e b a b c c - 7 e e 1 - 4 0 b a - b 1 9 e - d a b 5 2 f 3 d a 0 9 d " / >  
     < S l i d e s   I d = " 7 3 4 "   G u i d = " 2 d 2 f 6 9 b 3 - c 4 a 8 - 4 d 2 7 - b a 8 9 - 4 4 5 c 2 f 1 e f 2 c 1 "   N o d e I d = " 6 3 e b a b c c - 7 e e 1 - 4 0 b a - b 1 9 e - d a b 5 2 f 3 d a 0 9 d " / >  
     < S l i d e s   I d = " 7 0 8 "   G u i d = " 4 b 0 4 d e 6 7 - a b 2 1 - 4 f 2 a - 8 5 7 b - 0 4 7 5 3 c 1 6 e 4 f c "   N o d e I d = " 6 3 e b a b c c - 7 e e 1 - 4 0 b a - b 1 9 e - d a b 5 2 f 3 d a 0 9 d " / >  
     < S l i d e s   I d = " 7 4 4 "   G u i d = " b d c 2 2 c 0 8 - 8 e c 1 - 4 7 1 a - 8 7 b e - b f a e 4 b 0 b 9 d f 4 "   N o d e I d = " 6 3 e b a b c c - 7 e e 1 - 4 0 b a - b 1 9 e - d a b 5 2 f 3 d a 0 9 d " / >  
     < S l i d e s   I d = " 8 3 9 "   G u i d = " 6 9 3 f c 3 5 c - 8 9 3 5 - 4 a c 4 - 9 6 9 e - 9 8 7 0 2 f 0 7 1 6 f 0 "   N o d e I d = " 6 3 e b a b c c - 7 e e 1 - 4 0 b a - b 1 9 e - d a b 5 2 f 3 d a 0 9 d " / >  
     < S l i d e s   I d = " 7 8 8 "   G u i d = " d 8 f 7 3 4 d 4 - 6 9 6 3 - 4 f a d - 8 f 4 9 - a 2 e 1 3 8 e 5 b b b 1 "   N o d e I d = " 6 3 e b a b c c - 7 e e 1 - 4 0 b a - b 1 9 e - d a b 5 2 f 3 d a 0 9 d " / >  
     < S l i d e s   I d = " 8 4 8 "   G u i d = " 6 0 1 5 9 0 3 7 - d 8 c 4 - 4 5 6 a - 9 6 2 b - 7 9 c 9 6 0 6 f f b 4 8 "   N o d e I d = " 6 3 e b a b c c - 7 e e 1 - 4 0 b a - b 1 9 e - d a b 5 2 f 3 d a 0 9 d " / >  
     < S l i d e s   I d = " 7 4 9 "   G u i d = " c 7 2 8 e a a 6 - 2 2 0 3 - 4 7 f a - a 5 9 6 - 9 e 0 4 e 8 b e a 8 7 5 "   N o d e I d = " 6 3 e b a b c c - 7 e e 1 - 4 0 b a - b 1 9 e - d a b 5 2 f 3 d a 0 9 d " / >  
     < S l i d e s   I d = " 7 5 0 "   G u i d = " 2 8 b 4 1 a 9 a - d 2 f 2 - 4 a 0 3 - a 7 9 2 - 5 f 7 8 d b 3 6 5 6 5 f "   N o d e I d = " 6 3 e b a b c c - 7 e e 1 - 4 0 b a - b 1 9 e - d a b 5 2 f 3 d a 0 9 d " / >  
     < S l i d e s   I d = " 7 3 6 "   G u i d = " 6 d 7 c b 6 8 b - 2 c 6 1 - 4 e f 9 - 8 9 0 c - 2 5 b 9 8 6 d d f 0 4 f "   N o d e I d = " 6 3 e b a b c c - 7 e e 1 - 4 0 b a - b 1 9 e - d a b 5 2 f 3 d a 0 9 d " / >  
     < S l i d e s   I d = " 7 3 7 "   G u i d = " 8 7 f 1 4 0 5 1 - e b 1 3 - 4 3 e 1 - a 9 0 a - 5 1 2 e 7 2 b 6 5 f e 6 "   N o d e I d = " 6 3 e b a b c c - 7 e e 1 - 4 0 b a - b 1 9 e - d a b 5 2 f 3 d a 0 9 d " / >  
     < S l i d e s   I d = " 7 5 5 "   G u i d = " f 0 f 3 c 4 8 9 - e 2 d 6 - 4 8 c f - a 3 d 5 - c d 4 3 1 5 1 5 9 1 4 9 "   N o d e I d = " 6 3 e b a b c c - 7 e e 1 - 4 0 b a - b 1 9 e - d a b 5 2 f 3 d a 0 9 d " / >  
     < S l i d e s   I d = " 8 4 7 "   G u i d = " b 6 1 e 8 5 5 1 - 2 2 c b - 4 2 c 7 - 8 c a f - d 1 c d 3 6 9 0 9 7 e 6 "   N o d e I d = " 6 3 e b a b c c - 7 e e 1 - 4 0 b a - b 1 9 e - d a b 5 2 f 3 d a 0 9 d " / >  
     < S l i d e s   I d = " 8 5 1 "   G u i d = " 3 5 a a 7 e d 9 - 4 c 8 7 - 4 3 5 b - 8 3 2 5 - 6 f 8 9 f 1 5 a e e 2 f "   N o d e I d = " 6 3 e b a b c c - 7 e e 1 - 4 0 b a - b 1 9 e - d a b 5 2 f 3 d a 0 9 d " / >  
     < S l i d e s   I d = " 8 5 2 "   G u i d = " 5 f 2 5 8 9 e d - 7 8 b 9 - 4 b 3 1 - 8 c 1 f - 9 e 8 8 8 a b 0 9 e 6 0 "   N o d e I d = " 6 3 e b a b c c - 7 e e 1 - 4 0 b a - b 1 9 e - d a b 5 2 f 3 d a 0 9 d " / >  
     < S l i d e s   I d = " 4 2 4 "   G u i d = " b 1 7 6 2 f 7 d - e 6 3 9 - 4 7 8 8 - 9 5 6 1 - 2 8 3 1 0 d 8 9 9 0 d e "   N o d e I d = " 6 3 e b a b c c - 7 e e 1 - 4 0 b a - b 1 9 e - d a b 5 2 f 3 d a 0 9 d " / >  
     < S l i d e s   I d = " 4 2 5 "   G u i d = " 3 7 c 7 8 4 d 8 - e 0 5 7 - 4 0 e a - 9 a 4 8 - f f 9 7 0 f 3 b f 9 d 0 "   N o d e I d = " 6 3 e b a b c c - 7 e e 1 - 4 0 b a - b 1 9 e - d a b 5 2 f 3 d a 0 9 d " / >  
     < S l i d e s   I d = " 8 5 7 "   G u i d = " c 1 5 6 9 c e 8 - 1 2 2 6 - 4 b e 3 - 9 2 5 3 - 2 7 b d 4 7 6 0 e 8 c d "   N o d e I d = " 6 3 e b a b c c - 7 e e 1 - 4 0 b a - b 1 9 e - d a b 5 2 f 3 d a 0 9 d " / >  
     < S l i d e s   I d = " 8 6 1 "   G u i d = " 3 5 a a 7 e d 9 - 4 c 8 7 - 4 3 5 b - 8 3 2 5 - 6 f 8 9 f 1 5 a e e 2 f "   N o d e I d = " 6 3 e b a b c c - 7 e e 1 - 4 0 b a - b 1 9 e - d a b 5 2 f 3 d a 0 9 d " / >  
     < S l i d e s   I d = " 8 5 0 "   G u i d = " 9 1 5 a 3 a c 7 - 3 7 1 e - 4 e f 9 - 8 7 3 1 - 0 2 8 3 4 9 e 7 c 3 5 9 "   N o d e I d = " 6 3 e b a b c c - 7 e e 1 - 4 0 b a - b 1 9 e - d a b 5 2 f 3 d a 0 9 d " / >  
     < S l i d e s   I d = " 8 5 8 "   G u i d = " c 8 8 4 a 4 0 0 - a b c 5 - 4 3 3 4 - 8 3 7 a - 7 5 3 7 b 3 2 0 3 c 3 7 "   N o d e I d = " 6 3 e b a b c c - 7 e e 1 - 4 0 b a - b 1 9 e - d a b 5 2 f 3 d a 0 9 d " / >  
     < S l i d e s   I d = " 8 6 3 "   G u i d = " 8 f 6 7 c 2 2 c - a 2 7 7 - 4 2 a 0 - a 1 1 5 - b d c 0 f 9 0 f b d d 6 "   N o d e I d = " 6 3 e b a b c c - 7 e e 1 - 4 0 b a - b 1 9 e - d a b 5 2 f 3 d a 0 9 d " / >  
     < S l i d e s   I d = " 8 6 0 "   G u i d = " c b 9 a d e c b - 4 e b 6 - 4 9 1 1 - a c e 9 - f 2 3 5 2 f f 3 8 4 9 0 "   N o d e I d = " 6 3 e b a b c c - 7 e e 1 - 4 0 b a - b 1 9 e - d a b 5 2 f 3 d a 0 9 d " / >  
     < S l i d e s   I d = " 8 8 7 "   G u i d = " 9 1 5 a 3 a c 7 - 3 7 1 e - 4 e f 9 - 8 7 3 1 - 0 2 8 3 4 9 e 7 c 3 5 9 "   N o d e I d = " 6 3 e b a b c c - 7 e e 1 - 4 0 b a - b 1 9 e - d a b 5 2 f 3 d a 0 9 d " / >  
     < S l i d e s   I d = " 8 7 2 "   G u i d = " 6 9 3 4 6 3 9 9 - a 0 3 1 - 4 2 d 0 - 8 6 1 b - c a 6 2 d 3 7 0 5 2 7 2 "   N o d e I d = " 6 3 e b a b c c - 7 e e 1 - 4 0 b a - b 1 9 e - d a b 5 2 f 3 d a 0 9 d " / >  
     < S l i d e s   I d = " 8 9 1 "   G u i d = " 2 d 2 f 6 9 b 3 - c 4 a 8 - 4 d 2 7 - b a 8 9 - 4 4 5 c 2 f 1 e f 2 c 1 "   N o d e I d = " 6 3 e b a b c c - 7 e e 1 - 4 0 b a - b 1 9 e - d a b 5 2 f 3 d a 0 9 d " / >  
     < S l i d e s   I d = " 8 7 3 "   G u i d = " b d c 2 2 c 0 8 - 8 e c 1 - 4 7 1 a - 8 7 b e - b f a e 4 b 0 b 9 d f 4 "   N o d e I d = " 6 3 e b a b c c - 7 e e 1 - 4 0 b a - b 1 9 e - d a b 5 2 f 3 d a 0 9 d " / >  
     < S l i d e s   I d = " 8 9 2 "   G u i d = " 6 9 3 f c 3 5 c - 8 9 3 5 - 4 a c 4 - 9 6 9 e - 9 8 7 0 2 f 0 7 1 6 f 0 "   N o d e I d = " 6 3 e b a b c c - 7 e e 1 - 4 0 b a - b 1 9 e - d a b 5 2 f 3 d a 0 9 d " / >  
     < S l i d e s   I d = " 8 6 7 "   G u i d = " d 8 f 7 3 4 d 4 - 6 9 6 3 - 4 f a d - 8 f 4 9 - a 2 e 1 3 8 e 5 b b b 1 "   N o d e I d = " 6 3 e b a b c c - 7 e e 1 - 4 0 b a - b 1 9 e - d a b 5 2 f 3 d a 0 9 d " / >  
     < S l i d e s   I d = " 8 7 6 "   G u i d = " b a 7 1 a c a 8 - d 1 2 6 - 4 3 e 4 - 8 b 1 a - e 1 c 3 e 3 b 1 0 4 d e "   N o d e I d = " 6 3 e b a b c c - 7 e e 1 - 4 0 b a - b 1 9 e - d a b 5 2 f 3 d a 0 9 d " / >  
     < S l i d e s   I d = " 8 8 5 "   G u i d = " a c 0 9 8 4 7 a - 7 9 f 8 - 4 0 6 8 - b d c f - 6 2 d 8 4 e f 9 6 7 b 0 "   N o d e I d = " 6 3 e b a b c c - 7 e e 1 - 4 0 b a - b 1 9 e - d a b 5 2 f 3 d a 0 9 d " / >  
     < S l i d e s   I d = " 8 8 6 "   G u i d = " 8 c f 8 4 1 1 5 - 3 b c d - 4 d 2 a - a 7 d 2 - c 1 1 6 7 4 c 7 4 8 d 1 "   N o d e I d = " 6 3 e b a b c c - 7 e e 1 - 4 0 b a - b 1 9 e - d a b 5 2 f 3 d a 0 9 d " / >  
     < S l i d e s   I d = " 8 8 8 "   G u i d = " 0 f 4 d 8 3 5 d - a 5 6 2 - 4 6 d d - 9 5 3 9 - b 8 d 3 9 c 3 9 6 4 1 b "   N o d e I d = " 6 3 e b a b c c - 7 e e 1 - 4 0 b a - b 1 9 e - d a b 5 2 f 3 d a 0 9 d " / >  
     < S l i d e s   I d = " 8 8 9 "   G u i d = " 5 7 9 3 f 7 7 2 - f 6 a f - 4 2 6 1 - a 9 3 a - c 8 6 b 9 3 c 4 8 2 1 4 "   N o d e I d = " 6 3 e b a b c c - 7 e e 1 - 4 0 b a - b 1 9 e - d a b 5 2 f 3 d a 0 9 d " / >  
     < S l i d e s   I d = " 8 9 0 "   G u i d = " 5 4 a b d e 2 d - d 0 d 7 - 4 0 4 4 - 9 f 7 4 - d 2 b 7 9 a 8 7 5 e 0 3 "   N o d e I d = " 6 3 e b a b c c - 7 e e 1 - 4 0 b a - b 1 9 e - d a b 5 2 f 3 d a 0 9 d " / >  
     < S l i d e s   I d = " 2 9 5 "   G u i d = " 9 2 c f 4 f 5 3 - 5 8 b 8 - 4 e 1 c - a f d 4 - b d 4 9 7 d c 1 9 f a a "   N o d e I d = " 6 3 e b a b c c - 7 e e 1 - 4 0 b a - b 1 9 e - d a b 5 2 f 3 d a 0 9 d " / >  
     < S l i d e s   I d = " 4 2 1 "   G u i d = " 3 6 7 4 e 7 6 6 - 9 6 d d - 4 5 f b - 8 4 9 f - b c 4 2 f 0 2 6 7 8 7 5 "   N o d e I d = " 6 3 e b a b c c - 7 e e 1 - 4 0 b a - b 1 9 e - d a b 5 2 f 3 d a 0 9 d " / >  
     < S l i d e s   I d = " 8 9 5 "   G u i d = " 7 2 8 c d 5 f 5 - 7 c 0 5 - 4 3 8 3 - a 4 8 4 - 5 8 f b 2 4 4 9 b b 6 e "   N o d e I d = " 6 3 e b a b c c - 7 e e 1 - 4 0 b a - b 1 9 e - d a b 5 2 f 3 d a 0 9 d " / >  
     < S l i d e s   I d = " 8 9 6 "   G u i d = " 0 4 8 4 f 5 2 9 - 9 7 f c - 4 e 5 c - b 7 b f - f 3 b 2 3 2 c 8 4 8 5 d "   N o d e I d = " 6 3 e b a b c c - 7 e e 1 - 4 0 b a - b 1 9 e - d a b 5 2 f 3 d a 0 9 d " / >  
     < S l i d e s   I d = " 8 9 7 "   G u i d = " d f b a f 6 1 b - 6 5 2 1 - 4 e f 7 - b 5 0 0 - b 9 5 f 6 c 4 4 5 7 e d "   N o d e I d = " 6 3 e b a b c c - 7 e e 1 - 4 0 b a - b 1 9 e - d a b 5 2 f 3 d a 0 9 d " / >  
     < S l i d e s   I d = " 8 7 5 "   G u i d = " 6 a f c e 8 7 5 - 1 3 b 4 - 4 a a 9 - b 6 c 0 - 0 e e b c 8 6 2 1 3 f 4 "   N o d e I d = " 6 3 e b a b c c - 7 e e 1 - 4 0 b a - b 1 9 e - d a b 5 2 f 3 d a 0 9 d " / >  
     < S l i d e s   I d = " 9 0 4 "   G u i d = " 3 5 a a 7 e d 9 - 4 c 8 7 - 4 3 5 b - 8 3 2 5 - 6 f 8 9 f 1 5 a e e 2 f "   N o d e I d = " 6 3 e b a b c c - 7 e e 1 - 4 0 b a - b 1 9 e - d a b 5 2 f 3 d a 0 9 d " / >  
     < S l i d e s   I d = " 9 0 5 "   G u i d = " 4 5 4 9 d c 5 5 - 9 b 9 3 - 4 2 f c - a 0 a 3 - c 8 f 6 b d d d 6 e 2 8 "   N o d e I d = " 6 3 e b a b c c - 7 e e 1 - 4 0 b a - b 1 9 e - d a b 5 2 f 3 d a 0 9 d " / >  
     < S l i d e s   I d = " 9 0 0 "   G u i d = " 3 f 9 0 1 0 2 e - 1 7 4 2 - 4 2 e 7 - a 7 9 2 - e 7 8 c 7 5 2 2 7 1 2 f "   N o d e I d = " 6 3 e b a b c c - 7 e e 1 - 4 0 b a - b 1 9 e - d a b 5 2 f 3 d a 0 9 d " / >  
     < S l i d e s   I d = " 8 9 9 "   G u i d = " d f b a f 6 1 b - 6 5 2 1 - 4 e f 7 - b 5 0 0 - b 9 5 f 6 c 4 4 5 7 e d "   N o d e I d = " 6 3 e b a b c c - 7 e e 1 - 4 0 b a - b 1 9 e - d a b 5 2 f 3 d a 0 9 d " / >  
     < S l i d e s   I d = " 9 0 6 "   G u i d = " 1 9 6 e 9 5 f 1 - a 8 a 1 - 4 8 a 6 - b 1 2 2 - 0 7 2 a 5 0 8 0 4 5 5 c "   N o d e I d = " 6 3 e b a b c c - 7 e e 1 - 4 0 b a - b 1 9 e - d a b 5 2 f 3 d a 0 9 d " / >  
     < S l i d e s   I d = " 9 0 3 "   G u i d = " 9 1 5 4 9 8 a 2 - d 3 d a - 4 7 f b - 9 f 7 c - 2 3 1 7 3 9 d e d c 0 5 "   N o d e I d = " 6 3 e b a b c c - 7 e e 1 - 4 0 b a - b 1 9 e - d a b 5 2 f 3 d a 0 9 d " / >  
     < S l i d e s   I d = " 9 0 2 "   G u i d = " 6 5 b 3 8 5 5 1 - f e 7 f - 4 7 d 6 - a 6 e 3 - 2 9 a 6 9 5 1 9 e 3 f 6 "   N o d e I d = " 6 3 e b a b c c - 7 e e 1 - 4 0 b a - b 1 9 e - d a b 5 2 f 3 d a 0 9 d " / >  
     < S l i d e s   I d = " 9 0 7 "   G u i d = " 9 2 c 1 9 2 0 d - a 3 d c - 4 a 7 f - a e 4 8 - d 9 a 0 f d b a 3 c 4 5 "   N o d e I d = " 6 3 e b a b c c - 7 e e 1 - 4 0 b a - b 1 9 e - d a b 5 2 f 3 d a 0 9 d " / >  
     < S l i d e s   I d = " 9 0 8 "   G u i d = " 0 6 2 a 5 8 4 5 - c 6 9 a - 4 6 7 6 - 9 0 0 3 - 4 1 d d 1 7 a 4 c 7 e 1 "   N o d e I d = " 6 3 e b a b c c - 7 e e 1 - 4 0 b a - b 1 9 e - d a b 5 2 f 3 d a 0 9 d " / >  
     < S l i d e s   I d = " 9 1 0 "   G u i d = " f 8 f c 3 9 3 3 - 8 f e f - 4 4 0 9 - 9 a 1 2 - 3 2 5 0 1 5 a c 2 7 3 0 "   N o d e I d = " 6 3 e b a b c c - 7 e e 1 - 4 0 b a - b 1 9 e - d a b 5 2 f 3 d a 0 9 d " / >  
     < S l i d e s   I d = " 9 1 1 "   G u i d = " 2 d 2 f 6 9 b 3 - c 4 a 8 - 4 d 2 7 - b a 8 9 - 4 4 5 c 2 f 1 e f 2 c 1 "   N o d e I d = " 6 3 e b a b c c - 7 e e 1 - 4 0 b a - b 1 9 e - d a b 5 2 f 3 d a 0 9 d " / >  
     < S l i d e s   I d = " 9 1 2 "   G u i d = " 4 b 0 4 d e 6 7 - a b 2 1 - 4 f 2 a - 8 5 7 b - 0 4 7 5 3 c 1 6 e 4 f c "   N o d e I d = " 6 3 e b a b c c - 7 e e 1 - 4 0 b a - b 1 9 e - d a b 5 2 f 3 d a 0 9 d " / >  
     < S l i d e s   I d = " 9 1 3 "   G u i d = " d f b a f 6 1 b - 6 5 2 1 - 4 e f 7 - b 5 0 0 - b 9 5 f 6 c 4 4 5 7 e d "   N o d e I d = " 6 3 e b a b c c - 7 e e 1 - 4 0 b a - b 1 9 e - d a b 5 2 f 3 d a 0 9 d " / >  
     < S l i d e s   I d = " 9 1 4 "   G u i d = " b d c 2 2 c 0 8 - 8 e c 1 - 4 7 1 a - 8 7 b e - b f a e 4 b 0 b 9 d f 4 "   N o d e I d = " 6 3 e b a b c c - 7 e e 1 - 4 0 b a - b 1 9 e - d a b 5 2 f 3 d a 0 9 d " / >  
     < S l i d e s   I d = " 9 1 5 "   G u i d = " 7 2 8 c d 5 f 5 - 7 c 0 5 - 4 3 8 3 - a 4 8 4 - 5 8 f b 2 4 4 9 b b 6 e "   N o d e I d = " 6 3 e b a b c c - 7 e e 1 - 4 0 b a - b 1 9 e - d a b 5 2 f 3 d a 0 9 d " / >  
     < S l i d e s   I d = " 9 1 6 "   G u i d = " 0 4 8 4 f 5 2 9 - 9 7 f c - 4 e 5 c - b 7 b f - f 3 b 2 3 2 c 8 4 8 5 d "   N o d e I d = " 6 3 e b a b c c - 7 e e 1 - 4 0 b a - b 1 9 e - d a b 5 2 f 3 d a 0 9 d " / >  
     < S l i d e s   I d = " 9 1 7 "   G u i d = " 4 1 6 2 4 3 a 6 - a d e 3 - 4 0 5 9 - 8 9 c 2 - e 5 7 1 7 f b c b c 5 8 "   N o d e I d = " 6 3 e b a b c c - 7 e e 1 - 4 0 b a - b 1 9 e - d a b 5 2 f 3 d a 0 9 d " / >  
     < S l i d e s   I d = " 9 2 0 "   G u i d = " 5 5 6 c 6 2 7 1 - c 3 7 2 - 4 4 0 2 - 9 f d a - b 5 8 2 b 8 1 2 1 5 6 e "   N o d e I d = " 6 3 e b a b c c - 7 e e 1 - 4 0 b a - b 1 9 e - d a b 5 2 f 3 d a 0 9 d " / >  
     < S l i d e s   I d = " 9 2 1 "   G u i d = " a 4 3 f f c e 3 - 6 0 a 5 - 4 d 0 5 - a a 3 b - 7 b 0 6 7 2 2 8 f 6 0 2 "   N o d e I d = " 6 3 e b a b c c - 7 e e 1 - 4 0 b a - b 1 9 e - d a b 5 2 f 3 d a 0 9 d " / >  
     < S l i d e s   I d = " 9 2 2 "   G u i d = " c 5 f 3 2 1 3 5 - 1 d c 4 - 4 b b f - b e 3 d - 9 c 1 6 c f 8 7 b 7 3 2 "   N o d e I d = " 6 3 e b a b c c - 7 e e 1 - 4 0 b a - b 1 9 e - d a b 5 2 f 3 d a 0 9 d " / >  
     < S l i d e s   I d = " 9 2 3 "   G u i d = " e c e 5 b 0 9 f - 2 1 1 8 - 4 9 a a - 9 0 7 2 - 2 3 8 c 2 3 d 8 e b e 7 "   N o d e I d = " 6 3 e b a b c c - 7 e e 1 - 4 0 b a - b 1 9 e - d a b 5 2 f 3 d a 0 9 d " / >  
     < S l i d e s   I d = " 9 2 4 "   G u i d = " a c 0 3 6 c b 6 - 7 8 c f - 4 5 6 9 - b b d e - c 4 e 6 b d 4 6 4 a e b "   N o d e I d = " 6 3 e b a b c c - 7 e e 1 - 4 0 b a - b 1 9 e - d a b 5 2 f 3 d a 0 9 d " / >  
     < S l i d e s   I d = " 9 2 5 "   G u i d = " e 7 8 e f a 6 e - 3 f b a - 4 3 e f - b b d 9 - 0 7 6 c 4 5 e 9 3 5 2 1 "   N o d e I d = " 6 3 e b a b c c - 7 e e 1 - 4 0 b a - b 1 9 e - d a b 5 2 f 3 d a 0 9 d " / >  
     < S l i d e s   I d = " 9 2 7 "   G u i d = " 8 d 1 c 3 b 0 9 - 0 1 4 0 - 4 b 6 f - 8 d 7 c - 7 9 4 a 3 7 5 8 1 7 b 6 "   N o d e I d = " 6 3 e b a b c c - 7 e e 1 - 4 0 b a - b 1 9 e - d a b 5 2 f 3 d a 0 9 d " / >  
     < S l i d e s   I d = " 9 2 8 "   G u i d = " 0 6 2 a 5 8 4 5 - c 6 9 a - 4 6 7 6 - 9 0 0 3 - 4 1 d d 1 7 a 4 c 7 e 1 "   N o d e I d = " 6 3 e b a b c c - 7 e e 1 - 4 0 b a - b 1 9 e - d a b 5 2 f 3 d a 0 9 d " / >  
     < S l i d e s   I d = " 9 2 9 "   G u i d = " d 5 2 0 a 0 2 b - 3 3 2 b - 4 6 4 8 - b 6 c 4 - b c 1 b 6 6 e 2 c b 0 4 "   N o d e I d = " 6 3 e b a b c c - 7 e e 1 - 4 0 b a - b 1 9 e - d a b 5 2 f 3 d a 0 9 d " / >  
     < S l i d e s   I d = " 8 7 4 "   G u i d = " 2 8 b 4 1 a 9 a - d 2 f 2 - 4 a 0 3 - a 7 9 2 - 5 f 7 8 d b 3 6 5 6 5 f "   N o d e I d = " 6 3 e b a b c c - 7 e e 1 - 4 0 b a - b 1 9 e - d a b 5 2 f 3 d a 0 9 d " / >  
     < S l i d e s   I d = " 8 5 6 "   G u i d = " 8 a 6 e e 1 b 9 - 7 2 2 c - 4 6 0 8 - b 1 5 9 - 6 e 5 8 7 d 0 6 d c 5 b "   N o d e I d = " 6 3 e b a b c c - 7 e e 1 - 4 0 b a - b 1 9 e - d a b 5 2 f 3 d a 0 9 d " / >  
     < S l i d e s   I d = " 8 5 5 "   G u i d = " e 5 5 8 5 f f 4 - b 9 3 c - 4 b e 6 - 8 d 1 1 - 6 8 e b e 2 e 8 6 2 4 d "   N o d e I d = " 6 3 e b a b c c - 7 e e 1 - 4 0 b a - b 1 9 e - d a b 5 2 f 3 d a 0 9 d " / >  
     < S l i d e s   I d = " 9 1 9 "   G u i d = " f f 3 c 4 8 3 3 - b 4 8 2 - 4 f 7 a - a 3 9 1 - 3 a 9 4 9 9 e 2 4 a 0 b "   N o d e I d = " 6 3 e b a b c c - 7 e e 1 - 4 0 b a - b 1 9 e - d a b 5 2 f 3 d a 0 9 d " / >  
     < S l i d e s   I d = " 9 2 6 "   G u i d = " 5 5 9 5 8 0 8 9 - b 0 7 7 - 4 1 d b - 8 a 3 b - 1 c 5 f 0 5 f d 9 6 0 2 "   N o d e I d = " 6 3 e b a b c c - 7 e e 1 - 4 0 b a - b 1 9 e - d a b 5 2 f 3 d a 0 9 d " / >  
     < S l i d e s   I d = " 9 3 1 "   G u i d = " 9 1 5 4 9 8 a 2 - d 3 d a - 4 7 f b - 9 f 7 c - 2 3 1 7 3 9 d e d c 0 5 "   N o d e I d = " 6 3 e b a b c c - 7 e e 1 - 4 0 b a - b 1 9 e - d a b 5 2 f 3 d a 0 9 d " / >  
     < S l i d e s   I d = " 9 3 2 "   G u i d = " 3 5 a a 7 e d 9 - 4 c 8 7 - 4 3 5 b - 8 3 2 5 - 6 f 8 9 f 1 5 a e e 2 f "   N o d e I d = " 6 3 e b a b c c - 7 e e 1 - 4 0 b a - b 1 9 e - d a b 5 2 f 3 d a 0 9 d " / >  
     < S l i d e s   I d = " 9 3 3 "   G u i d = " 8 d 1 c 3 b 0 9 - 0 1 4 0 - 4 b 6 f - 8 d 7 c - 7 9 4 a 3 7 5 8 1 7 b 6 "   N o d e I d = " 6 3 e b a b c c - 7 e e 1 - 4 0 b a - b 1 9 e - d a b 5 2 f 3 d a 0 9 d " / >  
     < S l i d e s   I d = " 9 3 4 "   G u i d = " a c 0 9 8 4 7 a - 7 9 f 8 - 4 0 6 8 - b d c f - 6 2 d 8 4 e f 9 6 7 b 0 "   N o d e I d = " 6 3 e b a b c c - 7 e e 1 - 4 0 b a - b 1 9 e - d a b 5 2 f 3 d a 0 9 d " / >  
     < S l i d e s   I d = " 9 3 5 "   G u i d = " 0 f 4 d 8 3 5 d - a 5 6 2 - 4 6 d d - 9 5 3 9 - b 8 d 3 9 c 3 9 6 4 1 b "   N o d e I d = " 6 3 e b a b c c - 7 e e 1 - 4 0 b a - b 1 9 e - d a b 5 2 f 3 d a 0 9 d " / >  
     < S l i d e s   I d = " 9 3 6 "   G u i d = " 6 9 3 4 6 3 9 9 - a 0 3 1 - 4 2 d 0 - 8 6 1 b - c a 6 2 d 3 7 0 5 2 7 2 "   N o d e I d = " 6 3 e b a b c c - 7 e e 1 - 4 0 b a - b 1 9 e - d a b 5 2 f 3 d a 0 9 d " / >  
     < S l i d e s   I d = " 9 3 9 "   G u i d = " a a 4 f a d 9 f - a b 6 e - 4 e c d - 9 4 8 f - 0 d 9 0 2 c b 4 e e 7 b "   N o d e I d = " 6 3 e b a b c c - 7 e e 1 - 4 0 b a - b 1 9 e - d a b 5 2 f 3 d a 0 9 d " / >  
     < S l i d e s   I d = " 9 4 0 "   G u i d = " a 4 3 f f c e 3 - 6 0 a 5 - 4 d 0 5 - a a 3 b - 7 b 0 6 7 2 2 8 f 6 0 2 "   N o d e I d = " 6 3 e b a b c c - 7 e e 1 - 4 0 b a - b 1 9 e - d a b 5 2 f 3 d a 0 9 d " / >  
     < S l i d e s   I d = " 9 4 1 "   G u i d = " d 5 2 0 a 0 2 b - 3 3 2 b - 4 6 4 8 - b 6 c 4 - b c 1 b 6 6 e 2 c b 0 4 "   N o d e I d = " 6 3 e b a b c c - 7 e e 1 - 4 0 b a - b 1 9 e - d a b 5 2 f 3 d a 0 9 d " / >  
     < S l i d e s   I d = " 9 4 2 "   G u i d = " 8 a 6 e e 1 b 9 - 7 2 2 c - 4 6 0 8 - b 1 5 9 - 6 e 5 8 7 d 0 6 d c 5 b "   N o d e I d = " 6 3 e b a b c c - 7 e e 1 - 4 0 b a - b 1 9 e - d a b 5 2 f 3 d a 0 9 d " / >  
     < S l i d e s   I d = " 9 4 3 "   G u i d = " e 5 5 8 5 f f 4 - b 9 3 c - 4 b e 6 - 8 d 1 1 - 6 8 e b e 2 e 8 6 2 4 d "   N o d e I d = " 6 3 e b a b c c - 7 e e 1 - 4 0 b a - b 1 9 e - d a b 5 2 f 3 d a 0 9 d " / >  
     < S l i d e s   I d = " 9 4 4 "   G u i d = " 0 d 2 2 8 c e 4 - 9 a 9 6 - 4 a 9 0 - b 3 d 7 - d a f 2 f f 8 6 f 9 9 6 "   N o d e I d = " 6 3 e b a b c c - 7 e e 1 - 4 0 b a - b 1 9 e - d a b 5 2 f 3 d a 0 9 d " / >  
 < / S t o r y S h a p e r D a t a > 
</file>

<file path=customXml/item16.xml>��< ? x m l   v e r s i o n = " 1 . 0 "   e n c o d i n g = " u t f - 1 6 " ? > < S l i d e M a s t e r I d   x m l n s : x s i = " h t t p : / / w w w . w 3 . o r g / 2 0 0 1 / X M L S c h e m a - i n s t a n c e "   x m l n s : x s d = " h t t p : / / w w w . w 3 . o r g / 2 0 0 1 / X M L S c h e m a " >  
     < P r e s e n t a t i o n I n s t a n c e G u i d > f 2 b e f 8 3 7 - d e 8 3 - 4 f 1 f - b 8 e 1 - 6 c b d b f 9 f 9 9 9 2 < / P r e s e n t a t i o n I n s t a n c e G u i d >  
     < S l i d e M a s t e r G u i d > e 1 6 9 0 9 5 4 - a 1 7 f - 4 8 d e - 8 e 7 c - c 5 7 e 1 5 d c d a 0 d < / S l i d e M a s t e r G u i d >  
 < / S l i d e M a s t e r I d > 
</file>

<file path=customXml/item17.xml>��< ? x m l   v e r s i o n = " 1 . 0 "   e n c o d i n g = " u t f - 1 6 " ? > < C u s t o m L a y o u t I d   x m l n s : x s i = " h t t p : / / w w w . w 3 . o r g / 2 0 0 1 / X M L S c h e m a - i n s t a n c e "   x m l n s : x s d = " h t t p : / / w w w . w 3 . o r g / 2 0 0 1 / X M L S c h e m a " >  
     < P r e s e n t a t i o n I n s t a n c e G u i d > 4 8 5 d 9 c 1 3 - b 4 5 2 - 4 c 1 3 - a 4 7 8 - 9 5 a a 8 7 1 8 3 4 b d < / P r e s e n t a t i o n I n s t a n c e G u i d >  
     < S l i d e M a s t e r G u i d > e 1 6 9 0 9 5 4 - a 1 7 f - 4 8 d e - 8 e 7 c - c 5 7 e 1 5 d c d a 0 d < / S l i d e M a s t e r G u i d >  
     < C u s t o m L a y o u t G u i d > e 3 3 b 4 7 2 4 - 5 b d 6 - 4 2 7 8 - a a 9 1 - 3 f f 3 f f 7 a 0 f 0 e < / C u s t o m L a y o u t G u i d >  
 < / C u s t o m L a y o u t I d > 
</file>

<file path=customXml/item18.xml><?xml version="1.0" encoding="utf-8"?>
<Control xmlns="http://schemas.microsoft.com/VisualStudio/2011/storyboarding/control">
  <Id Name="85de5470-7111-4146-bf78-7d5c89d84807" Revision="1" Stencil="System.MyShapes" StencilVersion="1.0"/>
</Control>
</file>

<file path=customXml/item19.xml>��< ? x m l   v e r s i o n = " 1 . 0 "   e n c o d i n g = " u t f - 1 6 " ? > < C u s t o m L a y o u t I d   x m l n s : x s i = " h t t p : / / w w w . w 3 . o r g / 2 0 0 1 / X M L S c h e m a - i n s t a n c e "   x m l n s : x s d = " h t t p : / / w w w . w 3 . o r g / 2 0 0 1 / X M L S c h e m a " >  
     < P r e s e n t a t i o n I n s t a n c e G u i d > f 2 b e f 8 3 7 - d e 8 3 - 4 f 1 f - b 8 e 1 - 6 c b d b f 9 f 9 9 9 2 < / P r e s e n t a t i o n I n s t a n c e G u i d >  
     < S l i d e M a s t e r G u i d > e 1 6 9 0 9 5 4 - a 1 7 f - 4 8 d e - 8 e 7 c - c 5 7 e 1 5 d c d a 0 d < / S l i d e M a s t e r G u i d >  
     < C u s t o m L a y o u t G u i d > b a 3 4 0 8 a 1 - 9 1 6 2 - 4 1 a 2 - 8 b f 8 - 3 4 f b 5 e 7 d 8 6 c 0 < / C u s t o m L a y o u t G u i d >  
 < / C u s t o m L a y o u t I d > 
</file>

<file path=customXml/item2.xml>��< ? x m l   v e r s i o n = " 1 . 0 "   e n c o d i n g = " u t f - 1 6 " ? > < C u s t o m L a y o u t I d   x m l n s : x s i = " h t t p : / / w w w . w 3 . o r g / 2 0 0 1 / X M L S c h e m a - i n s t a n c e "   x m l n s : x s d = " h t t p : / / w w w . w 3 . o r g / 2 0 0 1 / X M L S c h e m a " >  
     < P r e s e n t a t i o n I n s t a n c e G u i d > f 2 b e f 8 3 7 - d e 8 3 - 4 f 1 f - b 8 e 1 - 6 c b d b f 9 f 9 9 9 2 < / P r e s e n t a t i o n I n s t a n c e G u i d >  
     < S l i d e M a s t e r G u i d > e 1 6 9 0 9 5 4 - a 1 7 f - 4 8 d e - 8 e 7 c - c 5 7 e 1 5 d c d a 0 d < / S l i d e M a s t e r G u i d >  
     < C u s t o m L a y o u t G u i d > b a 3 4 0 8 a 1 - 9 1 6 2 - 4 1 a 2 - 8 b f 8 - 3 4 f b 5 e 7 d 8 6 c 0 < / C u s t o m L a y o u t G u i d >  
 < / C u s t o m L a y o u t I d > 
</file>

<file path=customXml/item2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B7B589035A5346B810683BBDD8C6CD" ma:contentTypeVersion="17" ma:contentTypeDescription="Create a new document." ma:contentTypeScope="" ma:versionID="1a0f51f177efdea2936daf65c8d01391">
  <xsd:schema xmlns:xsd="http://www.w3.org/2001/XMLSchema" xmlns:xs="http://www.w3.org/2001/XMLSchema" xmlns:p="http://schemas.microsoft.com/office/2006/metadata/properties" xmlns:ns1="http://schemas.microsoft.com/sharepoint/v3" xmlns:ns3="348be839-8511-40ed-8434-a2c6c0dc2993" xmlns:ns4="d673e5fd-222c-4a5a-9896-952098191c66" targetNamespace="http://schemas.microsoft.com/office/2006/metadata/properties" ma:root="true" ma:fieldsID="df69a910d85e51ce0be6cbe0876c5421" ns1:_="" ns3:_="" ns4:_="">
    <xsd:import namespace="http://schemas.microsoft.com/sharepoint/v3"/>
    <xsd:import namespace="348be839-8511-40ed-8434-a2c6c0dc2993"/>
    <xsd:import namespace="d673e5fd-222c-4a5a-9896-952098191c6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OCR" minOccurs="0"/>
                <xsd:element ref="ns1:_ip_UnifiedCompliancePolicyProperties" minOccurs="0"/>
                <xsd:element ref="ns1:_ip_UnifiedCompliancePolicyUIAction" minOccurs="0"/>
                <xsd:element ref="ns3:_activity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8be839-8511-40ed-8434-a2c6c0dc29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activity" ma:index="23" nillable="true" ma:displayName="_activity" ma:hidden="true" ma:internalName="_activity">
      <xsd:simpleType>
        <xsd:restriction base="dms:Note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73e5fd-222c-4a5a-9896-952098191c6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1.xml><?xml version="1.0" encoding="utf-8"?>
<Control xmlns="http://schemas.microsoft.com/VisualStudio/2011/storyboarding/control">
  <Id Name="85de5470-7111-4146-bf78-7d5c89d84807" Revision="1" Stencil="System.MyShapes" StencilVersion="1.0"/>
</Control>
</file>

<file path=customXml/item22.xml>��< ? x m l   v e r s i o n = " 1 . 0 "   e n c o d i n g = " u t f - 1 6 " ? > < C u s t o m L a y o u t I d   x m l n s : x s i = " h t t p : / / w w w . w 3 . o r g / 2 0 0 1 / X M L S c h e m a - i n s t a n c e "   x m l n s : x s d = " h t t p : / / w w w . w 3 . o r g / 2 0 0 1 / X M L S c h e m a " >  
     < P r e s e n t a t i o n I n s t a n c e G u i d > 8 1 b d e 7 5 e - 8 2 b 0 - 4 e 1 b - a 6 9 2 - a 4 5 c 5 0 a b b 6 c 1 < / P r e s e n t a t i o n I n s t a n c e G u i d >  
     < S l i d e M a s t e r G u i d > f b 0 d 7 0 b 5 - 9 2 4 8 - 4 5 2 e - a b 5 f - 5 c 2 0 3 d 1 a 7 4 4 2 < / S l i d e M a s t e r G u i d >  
     < C u s t o m L a y o u t G u i d > 2 f 3 a f c a 7 - 8 f 6 4 - 4 b 5 1 - a b 6 0 - b a 4 2 3 4 7 3 4 c c d < / C u s t o m L a y o u t G u i d >  
 < / C u s t o m L a y o u t I d > 
</file>

<file path=customXml/item23.xml>��< ? x m l   v e r s i o n = " 1 . 0 "   e n c o d i n g = " u t f - 1 6 " ? > < C u s t o m L a y o u t I d   x m l n s : x s i = " h t t p : / / w w w . w 3 . o r g / 2 0 0 1 / X M L S c h e m a - i n s t a n c e "   x m l n s : x s d = " h t t p : / / w w w . w 3 . o r g / 2 0 0 1 / X M L S c h e m a " >  
     < P r e s e n t a t i o n I n s t a n c e G u i d > 4 8 5 d 9 c 1 3 - b 4 5 2 - 4 c 1 3 - a 4 7 8 - 9 5 a a 8 7 1 8 3 4 b d < / P r e s e n t a t i o n I n s t a n c e G u i d >  
     < S l i d e M a s t e r G u i d > e 1 6 9 0 9 5 4 - a 1 7 f - 4 8 d e - 8 e 7 c - c 5 7 e 1 5 d c d a 0 d < / S l i d e M a s t e r G u i d >  
     < C u s t o m L a y o u t G u i d > c 9 b 2 d e c e - f 2 8 c - 4 a b 2 - a 6 2 8 - b a 5 2 2 f 2 6 1 6 c 8 < / C u s t o m L a y o u t G u i d >  
 < / C u s t o m L a y o u t I d > 
</file>

<file path=customXml/item24.xml>��< ? x m l   v e r s i o n = " 1 . 0 "   e n c o d i n g = " u t f - 1 6 " ? > < C u s t o m L a y o u t I d   x m l n s : x s i = " h t t p : / / w w w . w 3 . o r g / 2 0 0 1 / X M L S c h e m a - i n s t a n c e "   x m l n s : x s d = " h t t p : / / w w w . w 3 . o r g / 2 0 0 1 / X M L S c h e m a " >  
     < P r e s e n t a t i o n I n s t a n c e G u i d > f 2 b e f 8 3 7 - d e 8 3 - 4 f 1 f - b 8 e 1 - 6 c b d b f 9 f 9 9 9 2 < / P r e s e n t a t i o n I n s t a n c e G u i d >  
     < S l i d e M a s t e r G u i d > e 1 6 9 0 9 5 4 - a 1 7 f - 4 8 d e - 8 e 7 c - c 5 7 e 1 5 d c d a 0 d < / S l i d e M a s t e r G u i d >  
     < C u s t o m L a y o u t G u i d > 0 8 c e 1 7 f 8 - f b 1 8 - 4 8 5 7 - b 7 c 0 - 6 b 7 c 7 e 1 2 7 a 0 6 < / C u s t o m L a y o u t G u i d >  
 < / C u s t o m L a y o u t I d > 
</file>

<file path=customXml/item25.xml><?xml version="1.0" encoding="utf-8"?>
<Control xmlns="http://schemas.microsoft.com/VisualStudio/2011/storyboarding/control">
  <Id Name="85de5470-7111-4146-bf78-7d5c89d84807" Revision="1" Stencil="System.MyShapes" StencilVersion="1.0"/>
</Control>
</file>

<file path=customXml/item2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_activity xmlns="348be839-8511-40ed-8434-a2c6c0dc2993" xsi:nil="true"/>
  </documentManagement>
</p:properties>
</file>

<file path=customXml/item27.xml>��< ? x m l   v e r s i o n = " 1 . 0 "   e n c o d i n g = " u t f - 1 6 " ? > < C u s t o m L a y o u t I d   x m l n s : x s i = " h t t p : / / w w w . w 3 . o r g / 2 0 0 1 / X M L S c h e m a - i n s t a n c e "   x m l n s : x s d = " h t t p : / / w w w . w 3 . o r g / 2 0 0 1 / X M L S c h e m a " >  
     < P r e s e n t a t i o n I n s t a n c e G u i d > f 2 b e f 8 3 7 - d e 8 3 - 4 f 1 f - b 8 e 1 - 6 c b d b f 9 f 9 9 9 2 < / P r e s e n t a t i o n I n s t a n c e G u i d >  
     < S l i d e M a s t e r G u i d > e 1 6 9 0 9 5 4 - a 1 7 f - 4 8 d e - 8 e 7 c - c 5 7 e 1 5 d c d a 0 d < / S l i d e M a s t e r G u i d >  
     < C u s t o m L a y o u t G u i d > b a 3 4 0 8 a 1 - 9 1 6 2 - 4 1 a 2 - 8 b f 8 - 3 4 f b 5 e 7 d 8 6 c 0 < / C u s t o m L a y o u t G u i d >  
 < / C u s t o m L a y o u t I d > 
</file>

<file path=customXml/item28.xml><?xml version="1.0" encoding="utf-8"?>
<Control xmlns="http://schemas.microsoft.com/VisualStudio/2011/storyboarding/control">
  <Id Name="85de5470-7111-4146-bf78-7d5c89d84807" Revision="1" Stencil="System.MyShapes" StencilVersion="1.0"/>
</Control>
</file>

<file path=customXml/item29.xml>��< ? x m l   v e r s i o n = " 1 . 0 "   e n c o d i n g = " u t f - 1 6 " ? > < S l i d e M a s t e r I d   x m l n s : x s i = " h t t p : / / w w w . w 3 . o r g / 2 0 0 1 / X M L S c h e m a - i n s t a n c e "   x m l n s : x s d = " h t t p : / / w w w . w 3 . o r g / 2 0 0 1 / X M L S c h e m a " >  
     < P r e s e n t a t i o n I n s t a n c e G u i d > f 2 b e f 8 3 7 - d e 8 3 - 4 f 1 f - b 8 e 1 - 6 c b d b f 9 f 9 9 9 2 < / P r e s e n t a t i o n I n s t a n c e G u i d >  
     < S l i d e M a s t e r G u i d > e 1 6 9 0 9 5 4 - a 1 7 f - 4 8 d e - 8 e 7 c - c 5 7 e 1 5 d c d a 0 d < / S l i d e M a s t e r G u i d >  
 < / S l i d e M a s t e r I d > 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0.xml><?xml version="1.0" encoding="utf-8"?>
<Control xmlns="http://schemas.microsoft.com/VisualStudio/2011/storyboarding/control">
  <Id Name="85de5470-7111-4146-bf78-7d5c89d84807" Revision="1" Stencil="System.MyShapes" StencilVersion="1.0"/>
</Control>
</file>

<file path=customXml/item31.xml><?xml version="1.0" encoding="utf-8"?>
<Control xmlns="http://schemas.microsoft.com/VisualStudio/2011/storyboarding/control">
  <Id Name="85de5470-7111-4146-bf78-7d5c89d84807" Revision="1" Stencil="System.MyShapes" StencilVersion="1.0"/>
</Control>
</file>

<file path=customXml/item32.xml><?xml version="1.0" encoding="utf-8"?>
<Control xmlns="http://schemas.microsoft.com/VisualStudio/2011/storyboarding/control">
  <Id Name="85de5470-7111-4146-bf78-7d5c89d84807" Revision="1" Stencil="System.MyShapes" StencilVersion="1.0"/>
</Control>
</file>

<file path=customXml/item4.xml><?xml version="1.0" encoding="utf-8"?>
<Control xmlns="http://schemas.microsoft.com/VisualStudio/2011/storyboarding/control">
  <Id Name="85de5470-7111-4146-bf78-7d5c89d84807" Revision="1" Stencil="System.MyShapes" StencilVersion="1.0"/>
</Control>
</file>

<file path=customXml/item5.xml>��< ? x m l   v e r s i o n = " 1 . 0 "   e n c o d i n g = " u t f - 1 6 " ? > < C u s t o m L a y o u t I d   x m l n s : x s i = " h t t p : / / w w w . w 3 . o r g / 2 0 0 1 / X M L S c h e m a - i n s t a n c e "   x m l n s : x s d = " h t t p : / / w w w . w 3 . o r g / 2 0 0 1 / X M L S c h e m a " >  
     < P r e s e n t a t i o n I n s t a n c e G u i d > f 2 b e f 8 3 7 - d e 8 3 - 4 f 1 f - b 8 e 1 - 6 c b d b f 9 f 9 9 9 2 < / P r e s e n t a t i o n I n s t a n c e G u i d >  
     < S l i d e M a s t e r G u i d > e 1 6 9 0 9 5 4 - a 1 7 f - 4 8 d e - 8 e 7 c - c 5 7 e 1 5 d c d a 0 d < / S l i d e M a s t e r G u i d >  
     < C u s t o m L a y o u t G u i d > 2 e c a 0 a a d - 7 4 7 c - 4 5 a 3 - b c 0 c - 9 1 d f a d a 6 f 6 d 3 < / C u s t o m L a y o u t G u i d >  
 < / C u s t o m L a y o u t I d > 
</file>

<file path=customXml/item6.xml><?xml version="1.0" encoding="utf-8"?>
<Control xmlns="http://schemas.microsoft.com/VisualStudio/2011/storyboarding/control">
  <Id Name="85de5470-7111-4146-bf78-7d5c89d84807" Revision="1" Stencil="System.MyShapes" StencilVersion="1.0"/>
</Control>
</file>

<file path=customXml/item7.xml><?xml version="1.0" encoding="utf-8"?>
<Control xmlns="http://schemas.microsoft.com/VisualStudio/2011/storyboarding/control">
  <Id Name="85de5470-7111-4146-bf78-7d5c89d84807" Revision="1" Stencil="System.MyShapes" StencilVersion="1.0"/>
</Control>
</file>

<file path=customXml/item8.xml>��< ? x m l   v e r s i o n = " 1 . 0 "   e n c o d i n g = " u t f - 1 6 " ? > < C u s t o m L a y o u t I d   x m l n s : x s i = " h t t p : / / w w w . w 3 . o r g / 2 0 0 1 / X M L S c h e m a - i n s t a n c e "   x m l n s : x s d = " h t t p : / / w w w . w 3 . o r g / 2 0 0 1 / X M L S c h e m a " >  
     < P r e s e n t a t i o n I n s t a n c e G u i d > f 2 b e f 8 3 7 - d e 8 3 - 4 f 1 f - b 8 e 1 - 6 c b d b f 9 f 9 9 9 2 < / P r e s e n t a t i o n I n s t a n c e G u i d >  
     < S l i d e M a s t e r G u i d > e 1 6 9 0 9 5 4 - a 1 7 f - 4 8 d e - 8 e 7 c - c 5 7 e 1 5 d c d a 0 d < / S l i d e M a s t e r G u i d >  
     < C u s t o m L a y o u t G u i d > 0 8 c e 1 7 f 8 - f b 1 8 - 4 8 5 7 - b 7 c 0 - 6 b 7 c 7 e 1 2 7 a 0 6 < / C u s t o m L a y o u t G u i d >  
 < / C u s t o m L a y o u t I d > 
</file>

<file path=customXml/item9.xml><?xml version="1.0" encoding="utf-8"?>
<Control xmlns="http://schemas.microsoft.com/VisualStudio/2011/storyboarding/control">
  <Id Name="85de5470-7111-4146-bf78-7d5c89d84807" Revision="1" Stencil="System.MyShapes" StencilVersion="1.0"/>
</Control>
</file>

<file path=customXml/itemProps1.xml><?xml version="1.0" encoding="utf-8"?>
<ds:datastoreItem xmlns:ds="http://schemas.openxmlformats.org/officeDocument/2006/customXml" ds:itemID="{C5D27080-75CA-4FB7-9700-69F7D37AF389}">
  <ds:schemaRefs>
    <ds:schemaRef ds:uri="http://www.w3.org/2001/XMLSchema"/>
  </ds:schemaRefs>
</ds:datastoreItem>
</file>

<file path=customXml/itemProps10.xml><?xml version="1.0" encoding="utf-8"?>
<ds:datastoreItem xmlns:ds="http://schemas.openxmlformats.org/officeDocument/2006/customXml" ds:itemID="{3D6C01F6-2CAC-45D4-859D-CCBACD2376BB}">
  <ds:schemaRefs>
    <ds:schemaRef ds:uri="http://www.w3.org/2000/xmlns/"/>
    <ds:schemaRef ds:uri="http://www.w3.org/2001/XMLSchema"/>
  </ds:schemaRefs>
</ds:datastoreItem>
</file>

<file path=customXml/itemProps11.xml><?xml version="1.0" encoding="utf-8"?>
<ds:datastoreItem xmlns:ds="http://schemas.openxmlformats.org/officeDocument/2006/customXml" ds:itemID="{EE6B010A-7E74-4447-8CAB-166740BBB641}">
  <ds:schemaRefs>
    <ds:schemaRef ds:uri="http://www.w3.org/2001/XMLSchema"/>
  </ds:schemaRefs>
</ds:datastoreItem>
</file>

<file path=customXml/itemProps12.xml><?xml version="1.0" encoding="utf-8"?>
<ds:datastoreItem xmlns:ds="http://schemas.openxmlformats.org/officeDocument/2006/customXml" ds:itemID="{C5AEEF88-DD1E-4F20-98ED-F450D338DB66}">
  <ds:schemaRefs>
    <ds:schemaRef ds:uri="http://schemas.microsoft.com/VisualStudio/2011/storyboarding/control"/>
  </ds:schemaRefs>
</ds:datastoreItem>
</file>

<file path=customXml/itemProps13.xml><?xml version="1.0" encoding="utf-8"?>
<ds:datastoreItem xmlns:ds="http://schemas.openxmlformats.org/officeDocument/2006/customXml" ds:itemID="{B6FE6FC8-44B5-4DE7-ADC1-ED0721F2E3E2}">
  <ds:schemaRefs>
    <ds:schemaRef ds:uri="http://schemas.microsoft.com/VisualStudio/2011/storyboarding/control"/>
  </ds:schemaRefs>
</ds:datastoreItem>
</file>

<file path=customXml/itemProps14.xml><?xml version="1.0" encoding="utf-8"?>
<ds:datastoreItem xmlns:ds="http://schemas.openxmlformats.org/officeDocument/2006/customXml" ds:itemID="{C21578FB-71B6-474C-81F4-E91F0C06B2BC}">
  <ds:schemaRefs>
    <ds:schemaRef ds:uri="http://www.w3.org/2001/XMLSchema"/>
  </ds:schemaRefs>
</ds:datastoreItem>
</file>

<file path=customXml/itemProps15.xml><?xml version="1.0" encoding="utf-8"?>
<ds:datastoreItem xmlns:ds="http://schemas.openxmlformats.org/officeDocument/2006/customXml" ds:itemID="{A022B131-EA89-4431-B42F-3CDB230F798C}">
  <ds:schemaRefs>
    <ds:schemaRef ds:uri="http://storyshaper.io"/>
    <ds:schemaRef ds:uri="http://www.w3.org/2001/XMLSchema"/>
  </ds:schemaRefs>
</ds:datastoreItem>
</file>

<file path=customXml/itemProps16.xml><?xml version="1.0" encoding="utf-8"?>
<ds:datastoreItem xmlns:ds="http://schemas.openxmlformats.org/officeDocument/2006/customXml" ds:itemID="{0458796A-C8DF-5542-BDA0-EC93CB8AA6A2}">
  <ds:schemaRefs>
    <ds:schemaRef ds:uri="http://www.w3.org/2001/XMLSchema"/>
  </ds:schemaRefs>
</ds:datastoreItem>
</file>

<file path=customXml/itemProps17.xml><?xml version="1.0" encoding="utf-8"?>
<ds:datastoreItem xmlns:ds="http://schemas.openxmlformats.org/officeDocument/2006/customXml" ds:itemID="{B71E9FFF-7544-4B36-88E0-B559AF19369E}">
  <ds:schemaRefs>
    <ds:schemaRef ds:uri="http://www.w3.org/2001/XMLSchema"/>
  </ds:schemaRefs>
</ds:datastoreItem>
</file>

<file path=customXml/itemProps18.xml><?xml version="1.0" encoding="utf-8"?>
<ds:datastoreItem xmlns:ds="http://schemas.openxmlformats.org/officeDocument/2006/customXml" ds:itemID="{63D4F1CD-B4B4-4E85-A879-281F02CD3356}">
  <ds:schemaRefs>
    <ds:schemaRef ds:uri="http://schemas.microsoft.com/VisualStudio/2011/storyboarding/control"/>
  </ds:schemaRefs>
</ds:datastoreItem>
</file>

<file path=customXml/itemProps19.xml><?xml version="1.0" encoding="utf-8"?>
<ds:datastoreItem xmlns:ds="http://schemas.openxmlformats.org/officeDocument/2006/customXml" ds:itemID="{D54A4111-DA6D-46DD-9A22-7522EA6E9164}">
  <ds:schemaRefs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0E4C70E-912F-4E43-8CBC-1D15B3431A92}">
  <ds:schemaRefs>
    <ds:schemaRef ds:uri="http://www.w3.org/2001/XMLSchema"/>
  </ds:schemaRefs>
</ds:datastoreItem>
</file>

<file path=customXml/itemProps20.xml><?xml version="1.0" encoding="utf-8"?>
<ds:datastoreItem xmlns:ds="http://schemas.openxmlformats.org/officeDocument/2006/customXml" ds:itemID="{E3737544-32FE-47D5-BA61-701138B1C2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48be839-8511-40ed-8434-a2c6c0dc2993"/>
    <ds:schemaRef ds:uri="d673e5fd-222c-4a5a-9896-952098191c6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1.xml><?xml version="1.0" encoding="utf-8"?>
<ds:datastoreItem xmlns:ds="http://schemas.openxmlformats.org/officeDocument/2006/customXml" ds:itemID="{55D22A70-5CDB-4759-B53F-50E5015A02A4}">
  <ds:schemaRefs>
    <ds:schemaRef ds:uri="http://schemas.microsoft.com/VisualStudio/2011/storyboarding/control"/>
  </ds:schemaRefs>
</ds:datastoreItem>
</file>

<file path=customXml/itemProps22.xml><?xml version="1.0" encoding="utf-8"?>
<ds:datastoreItem xmlns:ds="http://schemas.openxmlformats.org/officeDocument/2006/customXml" ds:itemID="{881951FB-8157-44ED-90FC-08407147DCD3}">
  <ds:schemaRefs>
    <ds:schemaRef ds:uri="http://www.w3.org/2000/xmlns/"/>
    <ds:schemaRef ds:uri="http://www.w3.org/2001/XMLSchema"/>
  </ds:schemaRefs>
</ds:datastoreItem>
</file>

<file path=customXml/itemProps23.xml><?xml version="1.0" encoding="utf-8"?>
<ds:datastoreItem xmlns:ds="http://schemas.openxmlformats.org/officeDocument/2006/customXml" ds:itemID="{410D0A11-D71B-4A72-A0B1-4DC5D10B23DE}">
  <ds:schemaRefs>
    <ds:schemaRef ds:uri="http://www.w3.org/2001/XMLSchema"/>
  </ds:schemaRefs>
</ds:datastoreItem>
</file>

<file path=customXml/itemProps24.xml><?xml version="1.0" encoding="utf-8"?>
<ds:datastoreItem xmlns:ds="http://schemas.openxmlformats.org/officeDocument/2006/customXml" ds:itemID="{1181A734-FA1A-40BF-9EF3-46D66CF29374}">
  <ds:schemaRefs>
    <ds:schemaRef ds:uri="http://www.w3.org/2000/xmlns/"/>
    <ds:schemaRef ds:uri="http://www.w3.org/2001/XMLSchema"/>
  </ds:schemaRefs>
</ds:datastoreItem>
</file>

<file path=customXml/itemProps25.xml><?xml version="1.0" encoding="utf-8"?>
<ds:datastoreItem xmlns:ds="http://schemas.openxmlformats.org/officeDocument/2006/customXml" ds:itemID="{C540AE4A-96B5-411D-862F-CEA72AB08DE2}">
  <ds:schemaRefs>
    <ds:schemaRef ds:uri="http://schemas.microsoft.com/VisualStudio/2011/storyboarding/control"/>
  </ds:schemaRefs>
</ds:datastoreItem>
</file>

<file path=customXml/itemProps26.xml><?xml version="1.0" encoding="utf-8"?>
<ds:datastoreItem xmlns:ds="http://schemas.openxmlformats.org/officeDocument/2006/customXml" ds:itemID="{88A32F8D-C1CE-47C1-9899-DF8CBEF07808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d673e5fd-222c-4a5a-9896-952098191c66"/>
    <ds:schemaRef ds:uri="http://purl.org/dc/elements/1.1/"/>
    <ds:schemaRef ds:uri="http://schemas.microsoft.com/office/2006/metadata/properties"/>
    <ds:schemaRef ds:uri="http://schemas.microsoft.com/sharepoint/v3"/>
    <ds:schemaRef ds:uri="348be839-8511-40ed-8434-a2c6c0dc2993"/>
    <ds:schemaRef ds:uri="http://www.w3.org/XML/1998/namespace"/>
    <ds:schemaRef ds:uri="http://purl.org/dc/dcmitype/"/>
  </ds:schemaRefs>
</ds:datastoreItem>
</file>

<file path=customXml/itemProps27.xml><?xml version="1.0" encoding="utf-8"?>
<ds:datastoreItem xmlns:ds="http://schemas.openxmlformats.org/officeDocument/2006/customXml" ds:itemID="{55A0FD36-B6C5-4DB0-A5C8-95040D8E2704}">
  <ds:schemaRefs>
    <ds:schemaRef ds:uri="http://www.w3.org/2000/xmlns/"/>
    <ds:schemaRef ds:uri="http://www.w3.org/2001/XMLSchema"/>
  </ds:schemaRefs>
</ds:datastoreItem>
</file>

<file path=customXml/itemProps28.xml><?xml version="1.0" encoding="utf-8"?>
<ds:datastoreItem xmlns:ds="http://schemas.openxmlformats.org/officeDocument/2006/customXml" ds:itemID="{9A67D366-FB26-4D20-8937-ABF7AABB7899}">
  <ds:schemaRefs>
    <ds:schemaRef ds:uri="http://schemas.microsoft.com/VisualStudio/2011/storyboarding/control"/>
  </ds:schemaRefs>
</ds:datastoreItem>
</file>

<file path=customXml/itemProps29.xml><?xml version="1.0" encoding="utf-8"?>
<ds:datastoreItem xmlns:ds="http://schemas.openxmlformats.org/officeDocument/2006/customXml" ds:itemID="{E98E57A2-0A14-4B8F-99D4-B7B826AC79E3}">
  <ds:schemaRefs>
    <ds:schemaRef ds:uri="http://www.w3.org/2000/xmlns/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83E37E3-6BD7-4860-8C76-8B4B91F28274}">
  <ds:schemaRefs>
    <ds:schemaRef ds:uri="http://schemas.microsoft.com/sharepoint/v3/contenttype/forms"/>
  </ds:schemaRefs>
</ds:datastoreItem>
</file>

<file path=customXml/itemProps30.xml><?xml version="1.0" encoding="utf-8"?>
<ds:datastoreItem xmlns:ds="http://schemas.openxmlformats.org/officeDocument/2006/customXml" ds:itemID="{C3861E09-6312-4E5F-B277-FAAB620AF178}">
  <ds:schemaRefs>
    <ds:schemaRef ds:uri="http://schemas.microsoft.com/VisualStudio/2011/storyboarding/control"/>
  </ds:schemaRefs>
</ds:datastoreItem>
</file>

<file path=customXml/itemProps31.xml><?xml version="1.0" encoding="utf-8"?>
<ds:datastoreItem xmlns:ds="http://schemas.openxmlformats.org/officeDocument/2006/customXml" ds:itemID="{30FD0507-4D9A-405E-B798-91F78561D507}">
  <ds:schemaRefs>
    <ds:schemaRef ds:uri="http://schemas.microsoft.com/VisualStudio/2011/storyboarding/control"/>
  </ds:schemaRefs>
</ds:datastoreItem>
</file>

<file path=customXml/itemProps32.xml><?xml version="1.0" encoding="utf-8"?>
<ds:datastoreItem xmlns:ds="http://schemas.openxmlformats.org/officeDocument/2006/customXml" ds:itemID="{A2B8238B-2EDA-4DC6-850B-B6C0DB6B5672}">
  <ds:schemaRefs>
    <ds:schemaRef ds:uri="http://schemas.microsoft.com/VisualStudio/2011/storyboarding/control"/>
  </ds:schemaRefs>
</ds:datastoreItem>
</file>

<file path=customXml/itemProps4.xml><?xml version="1.0" encoding="utf-8"?>
<ds:datastoreItem xmlns:ds="http://schemas.openxmlformats.org/officeDocument/2006/customXml" ds:itemID="{B6370AD3-88B4-4619-B21D-DC211AA2C90A}">
  <ds:schemaRefs>
    <ds:schemaRef ds:uri="http://schemas.microsoft.com/VisualStudio/2011/storyboarding/control"/>
  </ds:schemaRefs>
</ds:datastoreItem>
</file>

<file path=customXml/itemProps5.xml><?xml version="1.0" encoding="utf-8"?>
<ds:datastoreItem xmlns:ds="http://schemas.openxmlformats.org/officeDocument/2006/customXml" ds:itemID="{020BEB6A-354E-244F-B352-A0FCE6072082}">
  <ds:schemaRefs>
    <ds:schemaRef ds:uri="http://www.w3.org/2001/XMLSchema"/>
  </ds:schemaRefs>
</ds:datastoreItem>
</file>

<file path=customXml/itemProps6.xml><?xml version="1.0" encoding="utf-8"?>
<ds:datastoreItem xmlns:ds="http://schemas.openxmlformats.org/officeDocument/2006/customXml" ds:itemID="{F2AE396D-3A14-405F-97ED-7E27EA158BFC}">
  <ds:schemaRefs>
    <ds:schemaRef ds:uri="http://schemas.microsoft.com/VisualStudio/2011/storyboarding/control"/>
  </ds:schemaRefs>
</ds:datastoreItem>
</file>

<file path=customXml/itemProps7.xml><?xml version="1.0" encoding="utf-8"?>
<ds:datastoreItem xmlns:ds="http://schemas.openxmlformats.org/officeDocument/2006/customXml" ds:itemID="{389479A8-7102-4D37-B284-A28C34222115}">
  <ds:schemaRefs>
    <ds:schemaRef ds:uri="http://schemas.microsoft.com/VisualStudio/2011/storyboarding/control"/>
  </ds:schemaRefs>
</ds:datastoreItem>
</file>

<file path=customXml/itemProps8.xml><?xml version="1.0" encoding="utf-8"?>
<ds:datastoreItem xmlns:ds="http://schemas.openxmlformats.org/officeDocument/2006/customXml" ds:itemID="{96C7569B-0E92-E74F-8382-05880009F514}">
  <ds:schemaRefs>
    <ds:schemaRef ds:uri="http://www.w3.org/2001/XMLSchema"/>
  </ds:schemaRefs>
</ds:datastoreItem>
</file>

<file path=customXml/itemProps9.xml><?xml version="1.0" encoding="utf-8"?>
<ds:datastoreItem xmlns:ds="http://schemas.openxmlformats.org/officeDocument/2006/customXml" ds:itemID="{F24D4F01-EDA9-4FAE-8AFA-B73080B15659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9</TotalTime>
  <Words>109</Words>
  <Application>Microsoft Office PowerPoint</Application>
  <PresentationFormat>Širokoúhlá obrazovka</PresentationFormat>
  <Paragraphs>25</Paragraphs>
  <Slides>7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7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7</vt:i4>
      </vt:variant>
    </vt:vector>
  </HeadingPairs>
  <TitlesOfParts>
    <vt:vector size="16" baseType="lpstr">
      <vt:lpstr>Arial</vt:lpstr>
      <vt:lpstr>Calibri Light</vt:lpstr>
      <vt:lpstr>bill corp mx light</vt:lpstr>
      <vt:lpstr>bill corp mx book</vt:lpstr>
      <vt:lpstr>bill corp mx bold</vt:lpstr>
      <vt:lpstr>Calibri</vt:lpstr>
      <vt:lpstr>bill corp mx super</vt:lpstr>
      <vt:lpstr>3_MONETA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ZNEVÝHODNĚNÉ SKUPINY V MONETĚ</vt:lpstr>
      <vt:lpstr>ZNEVÝHODNĚNÉ SKUPINY V MONETĚ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neta Bank Official Template</dc:title>
  <dc:creator>jan@pochop.net</dc:creator>
  <cp:lastModifiedBy>Pavlíček Jan (MPSV)</cp:lastModifiedBy>
  <cp:revision>10</cp:revision>
  <cp:lastPrinted>2023-09-08T09:08:50Z</cp:lastPrinted>
  <dcterms:created xsi:type="dcterms:W3CDTF">2017-08-09T10:33:01Z</dcterms:created>
  <dcterms:modified xsi:type="dcterms:W3CDTF">2023-09-11T08:4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fs.IsStoryboard">
    <vt:bool>true</vt:bool>
  </property>
  <property fmtid="{D5CDD505-2E9C-101B-9397-08002B2CF9AE}" pid="3" name="ContentTypeId">
    <vt:lpwstr>0x010100E0B7B589035A5346B810683BBDD8C6CD</vt:lpwstr>
  </property>
  <property fmtid="{D5CDD505-2E9C-101B-9397-08002B2CF9AE}" pid="4" name="MediaServiceImageTags">
    <vt:lpwstr/>
  </property>
</Properties>
</file>